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charts/chartEx1.xml" ContentType="application/vnd.ms-office.chartex+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8.xml" ContentType="application/vnd.openxmlformats-officedocument.presentationml.notesSlid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9.xml" ContentType="application/vnd.openxmlformats-officedocument.presentationml.notesSlid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0.xml" ContentType="application/vnd.openxmlformats-officedocument.presentationml.notesSlid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3.xml" ContentType="application/vnd.openxmlformats-officedocument.presentationml.notesSlid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4.xml" ContentType="application/vnd.openxmlformats-officedocument.presentationml.notesSlide+xml"/>
  <Override PartName="/ppt/charts/chart12.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xml" ContentType="application/vnd.openxmlformats-officedocument.themeOverride+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2.xml" ContentType="application/vnd.openxmlformats-officedocument.themeOverrid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3.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5.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4.xml" ContentType="application/vnd.openxmlformats-officedocument.themeOverride+xml"/>
  <Override PartName="/ppt/notesSlides/notesSlide17.xml" ContentType="application/vnd.openxmlformats-officedocument.presentationml.notesSlide+xml"/>
  <Override PartName="/ppt/charts/chart16.xml" ContentType="application/vnd.openxmlformats-officedocument.drawingml.chart+xml"/>
  <Override PartName="/ppt/charts/style17.xml" ContentType="application/vnd.ms-office.chartstyle+xml"/>
  <Override PartName="/ppt/charts/colors17.xml" ContentType="application/vnd.ms-office.chartcolorstyle+xml"/>
  <Override PartName="/ppt/tags/tag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7.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0"/>
  </p:notesMasterIdLst>
  <p:sldIdLst>
    <p:sldId id="256" r:id="rId5"/>
    <p:sldId id="260" r:id="rId6"/>
    <p:sldId id="274" r:id="rId7"/>
    <p:sldId id="273" r:id="rId8"/>
    <p:sldId id="288" r:id="rId9"/>
    <p:sldId id="267" r:id="rId10"/>
    <p:sldId id="272" r:id="rId11"/>
    <p:sldId id="284" r:id="rId12"/>
    <p:sldId id="263" r:id="rId13"/>
    <p:sldId id="279" r:id="rId14"/>
    <p:sldId id="262" r:id="rId15"/>
    <p:sldId id="282" r:id="rId16"/>
    <p:sldId id="261" r:id="rId17"/>
    <p:sldId id="290" r:id="rId18"/>
    <p:sldId id="276" r:id="rId19"/>
    <p:sldId id="275" r:id="rId20"/>
    <p:sldId id="277" r:id="rId21"/>
    <p:sldId id="289" r:id="rId22"/>
    <p:sldId id="264" r:id="rId23"/>
    <p:sldId id="268" r:id="rId24"/>
    <p:sldId id="269" r:id="rId25"/>
    <p:sldId id="1093" r:id="rId26"/>
    <p:sldId id="1096" r:id="rId27"/>
    <p:sldId id="1095" r:id="rId28"/>
    <p:sldId id="287" r:id="rId29"/>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C8383EE-1F39-4596-ADEC-6C914FA21851}" v="11" dt="2024-11-11T08:23:54.783"/>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AF606853-7671-496A-8E4F-DF71F8EC918B}" styleName="Mørk stil 1 – uthev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iddels stil 2 – uthev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114" y="12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øystein, Oddmund" userId="S::oddmund.froystein@agderfk.no::f26153e0-b432-43d6-86cb-ef0c15d1b72a" providerId="AD" clId="Web-{0D80E666-B519-48D1-9052-4C5FFB2EC7F0}"/>
    <pc:docChg chg="modSld">
      <pc:chgData name="Frøystein, Oddmund" userId="S::oddmund.froystein@agderfk.no::f26153e0-b432-43d6-86cb-ef0c15d1b72a" providerId="AD" clId="Web-{0D80E666-B519-48D1-9052-4C5FFB2EC7F0}" dt="2021-10-26T12:48:07.556" v="1"/>
      <pc:docMkLst>
        <pc:docMk/>
      </pc:docMkLst>
      <pc:sldChg chg="modSp">
        <pc:chgData name="Frøystein, Oddmund" userId="S::oddmund.froystein@agderfk.no::f26153e0-b432-43d6-86cb-ef0c15d1b72a" providerId="AD" clId="Web-{0D80E666-B519-48D1-9052-4C5FFB2EC7F0}" dt="2021-10-26T12:48:07.556" v="1"/>
        <pc:sldMkLst>
          <pc:docMk/>
          <pc:sldMk cId="1380386693" sldId="260"/>
        </pc:sldMkLst>
        <pc:graphicFrameChg chg="mod modGraphic">
          <ac:chgData name="Frøystein, Oddmund" userId="S::oddmund.froystein@agderfk.no::f26153e0-b432-43d6-86cb-ef0c15d1b72a" providerId="AD" clId="Web-{0D80E666-B519-48D1-9052-4C5FFB2EC7F0}" dt="2021-10-26T12:48:07.556" v="1"/>
          <ac:graphicFrameMkLst>
            <pc:docMk/>
            <pc:sldMk cId="1380386693" sldId="260"/>
            <ac:graphicFrameMk id="10" creationId="{00000000-0000-0000-0000-000000000000}"/>
          </ac:graphicFrameMkLst>
        </pc:graphicFrameChg>
      </pc:sldChg>
    </pc:docChg>
  </pc:docChgLst>
  <pc:docChgLst>
    <pc:chgData name="Frøystein, Oddmund" userId="S::oddmund.froystein@agderfk.no::f26153e0-b432-43d6-86cb-ef0c15d1b72a" providerId="AD" clId="Web-{2817EC67-4363-4DCA-A6A2-90B94EDC1A90}"/>
    <pc:docChg chg="modSld">
      <pc:chgData name="Frøystein, Oddmund" userId="S::oddmund.froystein@agderfk.no::f26153e0-b432-43d6-86cb-ef0c15d1b72a" providerId="AD" clId="Web-{2817EC67-4363-4DCA-A6A2-90B94EDC1A90}" dt="2021-09-20T11:44:57.286" v="249"/>
      <pc:docMkLst>
        <pc:docMk/>
      </pc:docMkLst>
      <pc:sldChg chg="modSp">
        <pc:chgData name="Frøystein, Oddmund" userId="S::oddmund.froystein@agderfk.no::f26153e0-b432-43d6-86cb-ef0c15d1b72a" providerId="AD" clId="Web-{2817EC67-4363-4DCA-A6A2-90B94EDC1A90}" dt="2021-09-20T11:44:57.286" v="249"/>
        <pc:sldMkLst>
          <pc:docMk/>
          <pc:sldMk cId="1380386693" sldId="260"/>
        </pc:sldMkLst>
        <pc:graphicFrameChg chg="mod modGraphic">
          <ac:chgData name="Frøystein, Oddmund" userId="S::oddmund.froystein@agderfk.no::f26153e0-b432-43d6-86cb-ef0c15d1b72a" providerId="AD" clId="Web-{2817EC67-4363-4DCA-A6A2-90B94EDC1A90}" dt="2021-09-20T11:44:57.286" v="249"/>
          <ac:graphicFrameMkLst>
            <pc:docMk/>
            <pc:sldMk cId="1380386693" sldId="260"/>
            <ac:graphicFrameMk id="9" creationId="{00000000-0000-0000-0000-000000000000}"/>
          </ac:graphicFrameMkLst>
        </pc:graphicFrameChg>
      </pc:sldChg>
    </pc:docChg>
  </pc:docChgLst>
  <pc:docChgLst>
    <pc:chgData name="Lindaas, Gunnar Ogwyn" userId="9f116345-df17-4e62-ba90-3f104129b024" providerId="ADAL" clId="{3D5BBD47-1510-4D32-A6AF-EC91D79EA12F}"/>
    <pc:docChg chg="modSld">
      <pc:chgData name="Lindaas, Gunnar Ogwyn" userId="9f116345-df17-4e62-ba90-3f104129b024" providerId="ADAL" clId="{3D5BBD47-1510-4D32-A6AF-EC91D79EA12F}" dt="2022-08-16T16:34:20.415" v="30" actId="20577"/>
      <pc:docMkLst>
        <pc:docMk/>
      </pc:docMkLst>
      <pc:sldChg chg="modSp mod">
        <pc:chgData name="Lindaas, Gunnar Ogwyn" userId="9f116345-df17-4e62-ba90-3f104129b024" providerId="ADAL" clId="{3D5BBD47-1510-4D32-A6AF-EC91D79EA12F}" dt="2022-08-16T16:34:20.415" v="30" actId="20577"/>
        <pc:sldMkLst>
          <pc:docMk/>
          <pc:sldMk cId="2044844844" sldId="273"/>
        </pc:sldMkLst>
        <pc:spChg chg="mod">
          <ac:chgData name="Lindaas, Gunnar Ogwyn" userId="9f116345-df17-4e62-ba90-3f104129b024" providerId="ADAL" clId="{3D5BBD47-1510-4D32-A6AF-EC91D79EA12F}" dt="2022-08-16T16:34:20.415" v="30" actId="20577"/>
          <ac:spMkLst>
            <pc:docMk/>
            <pc:sldMk cId="2044844844" sldId="273"/>
            <ac:spMk id="5" creationId="{00000000-0000-0000-0000-000000000000}"/>
          </ac:spMkLst>
        </pc:spChg>
        <pc:picChg chg="mod">
          <ac:chgData name="Lindaas, Gunnar Ogwyn" userId="9f116345-df17-4e62-ba90-3f104129b024" providerId="ADAL" clId="{3D5BBD47-1510-4D32-A6AF-EC91D79EA12F}" dt="2022-08-16T16:29:02.412" v="0" actId="14826"/>
          <ac:picMkLst>
            <pc:docMk/>
            <pc:sldMk cId="2044844844" sldId="273"/>
            <ac:picMk id="3" creationId="{00000000-0000-0000-0000-000000000000}"/>
          </ac:picMkLst>
        </pc:picChg>
      </pc:sldChg>
    </pc:docChg>
  </pc:docChgLst>
  <pc:docChgLst>
    <pc:chgData name="Michaelsen, Børje" userId="S::borje.michaelsen@agderfk.no::c36523e3-11ed-4011-9a41-1983019c0634" providerId="AD" clId="Web-{BC89D4EA-A993-DA2E-E809-4887DE22A273}"/>
    <pc:docChg chg="modSld">
      <pc:chgData name="Michaelsen, Børje" userId="S::borje.michaelsen@agderfk.no::c36523e3-11ed-4011-9a41-1983019c0634" providerId="AD" clId="Web-{BC89D4EA-A993-DA2E-E809-4887DE22A273}" dt="2024-08-13T12:57:00.971" v="11"/>
      <pc:docMkLst>
        <pc:docMk/>
      </pc:docMkLst>
      <pc:sldChg chg="addSp delSp modSp">
        <pc:chgData name="Michaelsen, Børje" userId="S::borje.michaelsen@agderfk.no::c36523e3-11ed-4011-9a41-1983019c0634" providerId="AD" clId="Web-{BC89D4EA-A993-DA2E-E809-4887DE22A273}" dt="2024-08-13T12:57:00.971" v="11"/>
        <pc:sldMkLst>
          <pc:docMk/>
          <pc:sldMk cId="340623003" sldId="274"/>
        </pc:sldMkLst>
        <pc:spChg chg="add del mod">
          <ac:chgData name="Michaelsen, Børje" userId="S::borje.michaelsen@agderfk.no::c36523e3-11ed-4011-9a41-1983019c0634" providerId="AD" clId="Web-{BC89D4EA-A993-DA2E-E809-4887DE22A273}" dt="2024-08-13T12:56:53.706" v="10"/>
          <ac:spMkLst>
            <pc:docMk/>
            <pc:sldMk cId="340623003" sldId="274"/>
            <ac:spMk id="9" creationId="{0F62F8B3-B045-3C9E-24B4-9187A83DFBED}"/>
          </ac:spMkLst>
        </pc:spChg>
        <pc:graphicFrameChg chg="del">
          <ac:chgData name="Michaelsen, Børje" userId="S::borje.michaelsen@agderfk.no::c36523e3-11ed-4011-9a41-1983019c0634" providerId="AD" clId="Web-{BC89D4EA-A993-DA2E-E809-4887DE22A273}" dt="2024-08-13T12:55:22.156" v="0"/>
          <ac:graphicFrameMkLst>
            <pc:docMk/>
            <pc:sldMk cId="340623003" sldId="274"/>
            <ac:graphicFrameMk id="7" creationId="{00000000-0008-0000-0100-000002000000}"/>
          </ac:graphicFrameMkLst>
        </pc:graphicFrameChg>
        <pc:picChg chg="add mod">
          <ac:chgData name="Michaelsen, Børje" userId="S::borje.michaelsen@agderfk.no::c36523e3-11ed-4011-9a41-1983019c0634" providerId="AD" clId="Web-{BC89D4EA-A993-DA2E-E809-4887DE22A273}" dt="2024-08-13T12:57:00.971" v="11"/>
          <ac:picMkLst>
            <pc:docMk/>
            <pc:sldMk cId="340623003" sldId="274"/>
            <ac:picMk id="6" creationId="{305BC23D-9D7C-A93A-D3C9-3E7CDE55AE74}"/>
          </ac:picMkLst>
        </pc:picChg>
      </pc:sldChg>
    </pc:docChg>
  </pc:docChgLst>
  <pc:docChgLst>
    <pc:chgData name="Danielsen, Inger-Johanne" userId="S::inger-johanne.danielsen@agderfk.no::0ea002c9-de1c-4a7f-9aab-7b2dadba6978" providerId="AD" clId="Web-{C0C2B869-D039-47F6-B978-ED888E87D3C6}"/>
    <pc:docChg chg="modSld">
      <pc:chgData name="Danielsen, Inger-Johanne" userId="S::inger-johanne.danielsen@agderfk.no::0ea002c9-de1c-4a7f-9aab-7b2dadba6978" providerId="AD" clId="Web-{C0C2B869-D039-47F6-B978-ED888E87D3C6}" dt="2021-09-20T11:44:12.407" v="39" actId="1076"/>
      <pc:docMkLst>
        <pc:docMk/>
      </pc:docMkLst>
      <pc:sldChg chg="addSp delSp modSp">
        <pc:chgData name="Danielsen, Inger-Johanne" userId="S::inger-johanne.danielsen@agderfk.no::0ea002c9-de1c-4a7f-9aab-7b2dadba6978" providerId="AD" clId="Web-{C0C2B869-D039-47F6-B978-ED888E87D3C6}" dt="2021-09-20T11:44:12.407" v="39" actId="1076"/>
        <pc:sldMkLst>
          <pc:docMk/>
          <pc:sldMk cId="317289737" sldId="265"/>
        </pc:sldMkLst>
        <pc:spChg chg="del">
          <ac:chgData name="Danielsen, Inger-Johanne" userId="S::inger-johanne.danielsen@agderfk.no::0ea002c9-de1c-4a7f-9aab-7b2dadba6978" providerId="AD" clId="Web-{C0C2B869-D039-47F6-B978-ED888E87D3C6}" dt="2021-09-20T11:37:12.930" v="3"/>
          <ac:spMkLst>
            <pc:docMk/>
            <pc:sldMk cId="317289737" sldId="265"/>
            <ac:spMk id="2" creationId="{00000000-0000-0000-0000-000000000000}"/>
          </ac:spMkLst>
        </pc:spChg>
        <pc:spChg chg="del">
          <ac:chgData name="Danielsen, Inger-Johanne" userId="S::inger-johanne.danielsen@agderfk.no::0ea002c9-de1c-4a7f-9aab-7b2dadba6978" providerId="AD" clId="Web-{C0C2B869-D039-47F6-B978-ED888E87D3C6}" dt="2021-09-20T11:36:53.399" v="0"/>
          <ac:spMkLst>
            <pc:docMk/>
            <pc:sldMk cId="317289737" sldId="265"/>
            <ac:spMk id="3" creationId="{00000000-0000-0000-0000-000000000000}"/>
          </ac:spMkLst>
        </pc:spChg>
        <pc:spChg chg="add mod">
          <ac:chgData name="Danielsen, Inger-Johanne" userId="S::inger-johanne.danielsen@agderfk.no::0ea002c9-de1c-4a7f-9aab-7b2dadba6978" providerId="AD" clId="Web-{C0C2B869-D039-47F6-B978-ED888E87D3C6}" dt="2021-09-20T11:44:12.407" v="39" actId="1076"/>
          <ac:spMkLst>
            <pc:docMk/>
            <pc:sldMk cId="317289737" sldId="265"/>
            <ac:spMk id="6" creationId="{FCC9E5C7-FD57-4AA7-8F9C-F16EAF39D42D}"/>
          </ac:spMkLst>
        </pc:spChg>
        <pc:spChg chg="add mod">
          <ac:chgData name="Danielsen, Inger-Johanne" userId="S::inger-johanne.danielsen@agderfk.no::0ea002c9-de1c-4a7f-9aab-7b2dadba6978" providerId="AD" clId="Web-{C0C2B869-D039-47F6-B978-ED888E87D3C6}" dt="2021-09-20T11:43:44.438" v="34"/>
          <ac:spMkLst>
            <pc:docMk/>
            <pc:sldMk cId="317289737" sldId="265"/>
            <ac:spMk id="7" creationId="{20B803A4-135B-4450-BECA-58E3E4C52598}"/>
          </ac:spMkLst>
        </pc:spChg>
        <pc:picChg chg="add mod ord">
          <ac:chgData name="Danielsen, Inger-Johanne" userId="S::inger-johanne.danielsen@agderfk.no::0ea002c9-de1c-4a7f-9aab-7b2dadba6978" providerId="AD" clId="Web-{C0C2B869-D039-47F6-B978-ED888E87D3C6}" dt="2021-09-20T11:44:08.797" v="38" actId="1076"/>
          <ac:picMkLst>
            <pc:docMk/>
            <pc:sldMk cId="317289737" sldId="265"/>
            <ac:picMk id="4" creationId="{849A1CC5-BE38-41BE-AB4F-D0E461885513}"/>
          </ac:picMkLst>
        </pc:picChg>
        <pc:picChg chg="add del mod ord">
          <ac:chgData name="Danielsen, Inger-Johanne" userId="S::inger-johanne.danielsen@agderfk.no::0ea002c9-de1c-4a7f-9aab-7b2dadba6978" providerId="AD" clId="Web-{C0C2B869-D039-47F6-B978-ED888E87D3C6}" dt="2021-09-20T11:40:37.247" v="25"/>
          <ac:picMkLst>
            <pc:docMk/>
            <pc:sldMk cId="317289737" sldId="265"/>
            <ac:picMk id="5" creationId="{D4A9B6B3-C465-4E37-B7E0-7ED695403596}"/>
          </ac:picMkLst>
        </pc:picChg>
      </pc:sldChg>
    </pc:docChg>
  </pc:docChgLst>
  <pc:docChgLst>
    <pc:chgData name="Lindaas, Gunnar Ogwyn" userId="9f116345-df17-4e62-ba90-3f104129b024" providerId="ADAL" clId="{0E518367-61E3-4277-B87B-273418197CE2}"/>
    <pc:docChg chg="custSel modSld">
      <pc:chgData name="Lindaas, Gunnar Ogwyn" userId="9f116345-df17-4e62-ba90-3f104129b024" providerId="ADAL" clId="{0E518367-61E3-4277-B87B-273418197CE2}" dt="2021-10-18T12:08:50.361" v="201" actId="207"/>
      <pc:docMkLst>
        <pc:docMk/>
      </pc:docMkLst>
      <pc:sldChg chg="modSp mod">
        <pc:chgData name="Lindaas, Gunnar Ogwyn" userId="9f116345-df17-4e62-ba90-3f104129b024" providerId="ADAL" clId="{0E518367-61E3-4277-B87B-273418197CE2}" dt="2021-10-18T12:00:15.575" v="13" actId="20577"/>
        <pc:sldMkLst>
          <pc:docMk/>
          <pc:sldMk cId="2044844844" sldId="273"/>
        </pc:sldMkLst>
        <pc:spChg chg="mod">
          <ac:chgData name="Lindaas, Gunnar Ogwyn" userId="9f116345-df17-4e62-ba90-3f104129b024" providerId="ADAL" clId="{0E518367-61E3-4277-B87B-273418197CE2}" dt="2021-10-18T12:00:15.575" v="13" actId="20577"/>
          <ac:spMkLst>
            <pc:docMk/>
            <pc:sldMk cId="2044844844" sldId="273"/>
            <ac:spMk id="5" creationId="{00000000-0000-0000-0000-000000000000}"/>
          </ac:spMkLst>
        </pc:spChg>
        <pc:picChg chg="mod">
          <ac:chgData name="Lindaas, Gunnar Ogwyn" userId="9f116345-df17-4e62-ba90-3f104129b024" providerId="ADAL" clId="{0E518367-61E3-4277-B87B-273418197CE2}" dt="2021-10-18T11:57:36.314" v="1" actId="1076"/>
          <ac:picMkLst>
            <pc:docMk/>
            <pc:sldMk cId="2044844844" sldId="273"/>
            <ac:picMk id="4" creationId="{00000000-0000-0000-0000-000000000000}"/>
          </ac:picMkLst>
        </pc:picChg>
      </pc:sldChg>
      <pc:sldChg chg="modSp mod">
        <pc:chgData name="Lindaas, Gunnar Ogwyn" userId="9f116345-df17-4e62-ba90-3f104129b024" providerId="ADAL" clId="{0E518367-61E3-4277-B87B-273418197CE2}" dt="2021-10-18T12:08:50.361" v="201" actId="207"/>
        <pc:sldMkLst>
          <pc:docMk/>
          <pc:sldMk cId="662108869" sldId="279"/>
        </pc:sldMkLst>
        <pc:spChg chg="mod">
          <ac:chgData name="Lindaas, Gunnar Ogwyn" userId="9f116345-df17-4e62-ba90-3f104129b024" providerId="ADAL" clId="{0E518367-61E3-4277-B87B-273418197CE2}" dt="2021-10-18T12:08:50.361" v="201" actId="207"/>
          <ac:spMkLst>
            <pc:docMk/>
            <pc:sldMk cId="662108869" sldId="279"/>
            <ac:spMk id="10" creationId="{00000000-0000-0000-0000-000000000000}"/>
          </ac:spMkLst>
        </pc:spChg>
      </pc:sldChg>
      <pc:sldChg chg="addSp delSp modSp mod">
        <pc:chgData name="Lindaas, Gunnar Ogwyn" userId="9f116345-df17-4e62-ba90-3f104129b024" providerId="ADAL" clId="{0E518367-61E3-4277-B87B-273418197CE2}" dt="2021-10-18T12:04:51.083" v="51" actId="207"/>
        <pc:sldMkLst>
          <pc:docMk/>
          <pc:sldMk cId="1610994730" sldId="285"/>
        </pc:sldMkLst>
        <pc:spChg chg="mod">
          <ac:chgData name="Lindaas, Gunnar Ogwyn" userId="9f116345-df17-4e62-ba90-3f104129b024" providerId="ADAL" clId="{0E518367-61E3-4277-B87B-273418197CE2}" dt="2021-10-18T12:01:48.710" v="22" actId="20577"/>
          <ac:spMkLst>
            <pc:docMk/>
            <pc:sldMk cId="1610994730" sldId="285"/>
            <ac:spMk id="7" creationId="{00000000-0000-0000-0000-000000000000}"/>
          </ac:spMkLst>
        </pc:spChg>
        <pc:graphicFrameChg chg="add mod">
          <ac:chgData name="Lindaas, Gunnar Ogwyn" userId="9f116345-df17-4e62-ba90-3f104129b024" providerId="ADAL" clId="{0E518367-61E3-4277-B87B-273418197CE2}" dt="2021-10-18T12:04:51.083" v="51" actId="207"/>
          <ac:graphicFrameMkLst>
            <pc:docMk/>
            <pc:sldMk cId="1610994730" sldId="285"/>
            <ac:graphicFrameMk id="8" creationId="{00000000-0008-0000-0200-000002000000}"/>
          </ac:graphicFrameMkLst>
        </pc:graphicFrameChg>
        <pc:graphicFrameChg chg="del">
          <ac:chgData name="Lindaas, Gunnar Ogwyn" userId="9f116345-df17-4e62-ba90-3f104129b024" providerId="ADAL" clId="{0E518367-61E3-4277-B87B-273418197CE2}" dt="2021-10-18T12:04:04.952" v="40" actId="478"/>
          <ac:graphicFrameMkLst>
            <pc:docMk/>
            <pc:sldMk cId="1610994730" sldId="285"/>
            <ac:graphicFrameMk id="9" creationId="{00000000-0000-0000-0000-000000000000}"/>
          </ac:graphicFrameMkLst>
        </pc:graphicFrameChg>
        <pc:graphicFrameChg chg="modGraphic">
          <ac:chgData name="Lindaas, Gunnar Ogwyn" userId="9f116345-df17-4e62-ba90-3f104129b024" providerId="ADAL" clId="{0E518367-61E3-4277-B87B-273418197CE2}" dt="2021-10-18T12:04:01.287" v="39" actId="20577"/>
          <ac:graphicFrameMkLst>
            <pc:docMk/>
            <pc:sldMk cId="1610994730" sldId="285"/>
            <ac:graphicFrameMk id="10" creationId="{00000000-0000-0000-0000-000000000000}"/>
          </ac:graphicFrameMkLst>
        </pc:graphicFrameChg>
        <pc:picChg chg="mod">
          <ac:chgData name="Lindaas, Gunnar Ogwyn" userId="9f116345-df17-4e62-ba90-3f104129b024" providerId="ADAL" clId="{0E518367-61E3-4277-B87B-273418197CE2}" dt="2021-10-18T12:02:03.379" v="23" actId="14826"/>
          <ac:picMkLst>
            <pc:docMk/>
            <pc:sldMk cId="1610994730" sldId="285"/>
            <ac:picMk id="5" creationId="{00000000-0000-0000-0000-000000000000}"/>
          </ac:picMkLst>
        </pc:picChg>
      </pc:sldChg>
    </pc:docChg>
  </pc:docChgLst>
  <pc:docChgLst>
    <pc:chgData name="Michaelsen, Børje" userId="c36523e3-11ed-4011-9a41-1983019c0634" providerId="ADAL" clId="{50C07F04-D920-4D01-A20B-D11D454E0958}"/>
    <pc:docChg chg="undo custSel modSld">
      <pc:chgData name="Michaelsen, Børje" userId="c36523e3-11ed-4011-9a41-1983019c0634" providerId="ADAL" clId="{50C07F04-D920-4D01-A20B-D11D454E0958}" dt="2024-08-28T11:15:03.064" v="947" actId="1076"/>
      <pc:docMkLst>
        <pc:docMk/>
      </pc:docMkLst>
      <pc:sldChg chg="modSp mod modNotesTx">
        <pc:chgData name="Michaelsen, Børje" userId="c36523e3-11ed-4011-9a41-1983019c0634" providerId="ADAL" clId="{50C07F04-D920-4D01-A20B-D11D454E0958}" dt="2024-08-06T08:51:32.973" v="357" actId="20577"/>
        <pc:sldMkLst>
          <pc:docMk/>
          <pc:sldMk cId="1380386693" sldId="260"/>
        </pc:sldMkLst>
        <pc:graphicFrameChg chg="modGraphic">
          <ac:chgData name="Michaelsen, Børje" userId="c36523e3-11ed-4011-9a41-1983019c0634" providerId="ADAL" clId="{50C07F04-D920-4D01-A20B-D11D454E0958}" dt="2024-08-06T08:48:58.729" v="325" actId="20577"/>
          <ac:graphicFrameMkLst>
            <pc:docMk/>
            <pc:sldMk cId="1380386693" sldId="260"/>
            <ac:graphicFrameMk id="3" creationId="{00000000-0000-0000-0000-000000000000}"/>
          </ac:graphicFrameMkLst>
        </pc:graphicFrameChg>
        <pc:graphicFrameChg chg="modGraphic">
          <ac:chgData name="Michaelsen, Børje" userId="c36523e3-11ed-4011-9a41-1983019c0634" providerId="ADAL" clId="{50C07F04-D920-4D01-A20B-D11D454E0958}" dt="2024-08-06T08:51:32.973" v="357" actId="20577"/>
          <ac:graphicFrameMkLst>
            <pc:docMk/>
            <pc:sldMk cId="1380386693" sldId="260"/>
            <ac:graphicFrameMk id="8" creationId="{00000000-0000-0000-0000-000000000000}"/>
          </ac:graphicFrameMkLst>
        </pc:graphicFrameChg>
        <pc:graphicFrameChg chg="modGraphic">
          <ac:chgData name="Michaelsen, Børje" userId="c36523e3-11ed-4011-9a41-1983019c0634" providerId="ADAL" clId="{50C07F04-D920-4D01-A20B-D11D454E0958}" dt="2024-08-06T08:50:35.477" v="345" actId="20577"/>
          <ac:graphicFrameMkLst>
            <pc:docMk/>
            <pc:sldMk cId="1380386693" sldId="260"/>
            <ac:graphicFrameMk id="9" creationId="{00000000-0000-0000-0000-000000000000}"/>
          </ac:graphicFrameMkLst>
        </pc:graphicFrameChg>
        <pc:graphicFrameChg chg="modGraphic">
          <ac:chgData name="Michaelsen, Børje" userId="c36523e3-11ed-4011-9a41-1983019c0634" providerId="ADAL" clId="{50C07F04-D920-4D01-A20B-D11D454E0958}" dt="2024-08-06T08:51:11.378" v="353" actId="20577"/>
          <ac:graphicFrameMkLst>
            <pc:docMk/>
            <pc:sldMk cId="1380386693" sldId="260"/>
            <ac:graphicFrameMk id="10" creationId="{00000000-0000-0000-0000-000000000000}"/>
          </ac:graphicFrameMkLst>
        </pc:graphicFrameChg>
      </pc:sldChg>
      <pc:sldChg chg="addSp delSp modSp mod modNotesTx">
        <pc:chgData name="Michaelsen, Børje" userId="c36523e3-11ed-4011-9a41-1983019c0634" providerId="ADAL" clId="{50C07F04-D920-4D01-A20B-D11D454E0958}" dt="2024-08-13T07:32:59.062" v="789" actId="478"/>
        <pc:sldMkLst>
          <pc:docMk/>
          <pc:sldMk cId="4123357996" sldId="261"/>
        </pc:sldMkLst>
        <pc:spChg chg="del">
          <ac:chgData name="Michaelsen, Børje" userId="c36523e3-11ed-4011-9a41-1983019c0634" providerId="ADAL" clId="{50C07F04-D920-4D01-A20B-D11D454E0958}" dt="2024-08-13T07:32:59.062" v="789" actId="478"/>
          <ac:spMkLst>
            <pc:docMk/>
            <pc:sldMk cId="4123357996" sldId="261"/>
            <ac:spMk id="2" creationId="{00000000-0000-0000-0000-000000000000}"/>
          </ac:spMkLst>
        </pc:spChg>
        <pc:spChg chg="mod">
          <ac:chgData name="Michaelsen, Børje" userId="c36523e3-11ed-4011-9a41-1983019c0634" providerId="ADAL" clId="{50C07F04-D920-4D01-A20B-D11D454E0958}" dt="2024-08-13T07:32:52.889" v="788" actId="20577"/>
          <ac:spMkLst>
            <pc:docMk/>
            <pc:sldMk cId="4123357996" sldId="261"/>
            <ac:spMk id="3" creationId="{0E208661-40B4-4483-9A05-FE473BED7235}"/>
          </ac:spMkLst>
        </pc:spChg>
        <pc:graphicFrameChg chg="del">
          <ac:chgData name="Michaelsen, Børje" userId="c36523e3-11ed-4011-9a41-1983019c0634" providerId="ADAL" clId="{50C07F04-D920-4D01-A20B-D11D454E0958}" dt="2024-08-13T07:32:22.581" v="776" actId="478"/>
          <ac:graphicFrameMkLst>
            <pc:docMk/>
            <pc:sldMk cId="4123357996" sldId="261"/>
            <ac:graphicFrameMk id="6" creationId="{18197FB1-9372-F1DC-4225-665AF0196003}"/>
          </ac:graphicFrameMkLst>
        </pc:graphicFrameChg>
        <pc:graphicFrameChg chg="add mod">
          <ac:chgData name="Michaelsen, Børje" userId="c36523e3-11ed-4011-9a41-1983019c0634" providerId="ADAL" clId="{50C07F04-D920-4D01-A20B-D11D454E0958}" dt="2024-08-13T07:32:37.350" v="781" actId="14100"/>
          <ac:graphicFrameMkLst>
            <pc:docMk/>
            <pc:sldMk cId="4123357996" sldId="261"/>
            <ac:graphicFrameMk id="7" creationId="{20743EAD-2704-49A5-4317-249C8750BC66}"/>
          </ac:graphicFrameMkLst>
        </pc:graphicFrameChg>
      </pc:sldChg>
      <pc:sldChg chg="addSp delSp modSp mod">
        <pc:chgData name="Michaelsen, Børje" userId="c36523e3-11ed-4011-9a41-1983019c0634" providerId="ADAL" clId="{50C07F04-D920-4D01-A20B-D11D454E0958}" dt="2024-08-07T14:17:04.397" v="617" actId="27918"/>
        <pc:sldMkLst>
          <pc:docMk/>
          <pc:sldMk cId="3237931907" sldId="263"/>
        </pc:sldMkLst>
        <pc:spChg chg="mod">
          <ac:chgData name="Michaelsen, Børje" userId="c36523e3-11ed-4011-9a41-1983019c0634" providerId="ADAL" clId="{50C07F04-D920-4D01-A20B-D11D454E0958}" dt="2024-08-07T12:09:01.358" v="539" actId="6549"/>
          <ac:spMkLst>
            <pc:docMk/>
            <pc:sldMk cId="3237931907" sldId="263"/>
            <ac:spMk id="10" creationId="{00000000-0000-0000-0000-000000000000}"/>
          </ac:spMkLst>
        </pc:spChg>
        <pc:graphicFrameChg chg="del">
          <ac:chgData name="Michaelsen, Børje" userId="c36523e3-11ed-4011-9a41-1983019c0634" providerId="ADAL" clId="{50C07F04-D920-4D01-A20B-D11D454E0958}" dt="2024-08-07T12:06:18.811" v="468" actId="478"/>
          <ac:graphicFrameMkLst>
            <pc:docMk/>
            <pc:sldMk cId="3237931907" sldId="263"/>
            <ac:graphicFrameMk id="3" creationId="{900796C7-9568-AA7D-48B1-D162673FAB3E}"/>
          </ac:graphicFrameMkLst>
        </pc:graphicFrameChg>
        <pc:graphicFrameChg chg="add mod">
          <ac:chgData name="Michaelsen, Børje" userId="c36523e3-11ed-4011-9a41-1983019c0634" providerId="ADAL" clId="{50C07F04-D920-4D01-A20B-D11D454E0958}" dt="2024-08-07T12:06:44.097" v="473" actId="14100"/>
          <ac:graphicFrameMkLst>
            <pc:docMk/>
            <pc:sldMk cId="3237931907" sldId="263"/>
            <ac:graphicFrameMk id="4" creationId="{900796C7-9568-AA7D-48B1-D162673FAB3E}"/>
          </ac:graphicFrameMkLst>
        </pc:graphicFrameChg>
        <pc:graphicFrameChg chg="del">
          <ac:chgData name="Michaelsen, Børje" userId="c36523e3-11ed-4011-9a41-1983019c0634" providerId="ADAL" clId="{50C07F04-D920-4D01-A20B-D11D454E0958}" dt="2024-08-07T12:07:00.454" v="475" actId="478"/>
          <ac:graphicFrameMkLst>
            <pc:docMk/>
            <pc:sldMk cId="3237931907" sldId="263"/>
            <ac:graphicFrameMk id="5" creationId="{E5C71C2E-AF53-CAD5-0770-CF80592B48C1}"/>
          </ac:graphicFrameMkLst>
        </pc:graphicFrameChg>
        <pc:graphicFrameChg chg="del">
          <ac:chgData name="Michaelsen, Børje" userId="c36523e3-11ed-4011-9a41-1983019c0634" providerId="ADAL" clId="{50C07F04-D920-4D01-A20B-D11D454E0958}" dt="2024-08-07T12:07:19.273" v="480" actId="478"/>
          <ac:graphicFrameMkLst>
            <pc:docMk/>
            <pc:sldMk cId="3237931907" sldId="263"/>
            <ac:graphicFrameMk id="6" creationId="{5811086E-7EBB-5CCF-E9C8-6A367F6717D6}"/>
          </ac:graphicFrameMkLst>
        </pc:graphicFrameChg>
        <pc:graphicFrameChg chg="add mod">
          <ac:chgData name="Michaelsen, Børje" userId="c36523e3-11ed-4011-9a41-1983019c0634" providerId="ADAL" clId="{50C07F04-D920-4D01-A20B-D11D454E0958}" dt="2024-08-07T12:07:14.971" v="479" actId="14100"/>
          <ac:graphicFrameMkLst>
            <pc:docMk/>
            <pc:sldMk cId="3237931907" sldId="263"/>
            <ac:graphicFrameMk id="7" creationId="{E5C71C2E-AF53-CAD5-0770-CF80592B48C1}"/>
          </ac:graphicFrameMkLst>
        </pc:graphicFrameChg>
        <pc:graphicFrameChg chg="add mod modGraphic">
          <ac:chgData name="Michaelsen, Børje" userId="c36523e3-11ed-4011-9a41-1983019c0634" providerId="ADAL" clId="{50C07F04-D920-4D01-A20B-D11D454E0958}" dt="2024-08-07T12:08:09.340" v="493" actId="13926"/>
          <ac:graphicFrameMkLst>
            <pc:docMk/>
            <pc:sldMk cId="3237931907" sldId="263"/>
            <ac:graphicFrameMk id="8" creationId="{1F04DA60-B7B3-B4E8-515E-A41EE2EA22A3}"/>
          </ac:graphicFrameMkLst>
        </pc:graphicFrameChg>
      </pc:sldChg>
      <pc:sldChg chg="addSp delSp modSp mod modNotesTx">
        <pc:chgData name="Michaelsen, Børje" userId="c36523e3-11ed-4011-9a41-1983019c0634" providerId="ADAL" clId="{50C07F04-D920-4D01-A20B-D11D454E0958}" dt="2024-08-28T11:15:03.064" v="947" actId="1076"/>
        <pc:sldMkLst>
          <pc:docMk/>
          <pc:sldMk cId="394652420" sldId="268"/>
        </pc:sldMkLst>
        <pc:spChg chg="mod">
          <ac:chgData name="Michaelsen, Børje" userId="c36523e3-11ed-4011-9a41-1983019c0634" providerId="ADAL" clId="{50C07F04-D920-4D01-A20B-D11D454E0958}" dt="2024-08-28T11:14:29.359" v="934" actId="14100"/>
          <ac:spMkLst>
            <pc:docMk/>
            <pc:sldMk cId="394652420" sldId="268"/>
            <ac:spMk id="3" creationId="{00000000-0000-0000-0000-000000000000}"/>
          </ac:spMkLst>
        </pc:spChg>
        <pc:spChg chg="mod">
          <ac:chgData name="Michaelsen, Børje" userId="c36523e3-11ed-4011-9a41-1983019c0634" providerId="ADAL" clId="{50C07F04-D920-4D01-A20B-D11D454E0958}" dt="2024-08-28T11:14:38.701" v="944" actId="20577"/>
          <ac:spMkLst>
            <pc:docMk/>
            <pc:sldMk cId="394652420" sldId="268"/>
            <ac:spMk id="5" creationId="{00000000-0000-0000-0000-000000000000}"/>
          </ac:spMkLst>
        </pc:spChg>
        <pc:graphicFrameChg chg="add mod">
          <ac:chgData name="Michaelsen, Børje" userId="c36523e3-11ed-4011-9a41-1983019c0634" providerId="ADAL" clId="{50C07F04-D920-4D01-A20B-D11D454E0958}" dt="2024-08-28T11:15:03.064" v="947" actId="1076"/>
          <ac:graphicFrameMkLst>
            <pc:docMk/>
            <pc:sldMk cId="394652420" sldId="268"/>
            <ac:graphicFrameMk id="7" creationId="{D005A174-951D-5523-A50A-72D519C22056}"/>
          </ac:graphicFrameMkLst>
        </pc:graphicFrameChg>
        <pc:picChg chg="del">
          <ac:chgData name="Michaelsen, Børje" userId="c36523e3-11ed-4011-9a41-1983019c0634" providerId="ADAL" clId="{50C07F04-D920-4D01-A20B-D11D454E0958}" dt="2024-08-28T11:14:33.008" v="935" actId="478"/>
          <ac:picMkLst>
            <pc:docMk/>
            <pc:sldMk cId="394652420" sldId="268"/>
            <ac:picMk id="6" creationId="{00000000-0000-0000-0000-000000000000}"/>
          </ac:picMkLst>
        </pc:picChg>
      </pc:sldChg>
      <pc:sldChg chg="addSp delSp modSp mod modNotesTx">
        <pc:chgData name="Michaelsen, Børje" userId="c36523e3-11ed-4011-9a41-1983019c0634" providerId="ADAL" clId="{50C07F04-D920-4D01-A20B-D11D454E0958}" dt="2024-08-05T07:54:02.704" v="121" actId="207"/>
        <pc:sldMkLst>
          <pc:docMk/>
          <pc:sldMk cId="1763573476" sldId="269"/>
        </pc:sldMkLst>
        <pc:graphicFrameChg chg="add mod">
          <ac:chgData name="Michaelsen, Børje" userId="c36523e3-11ed-4011-9a41-1983019c0634" providerId="ADAL" clId="{50C07F04-D920-4D01-A20B-D11D454E0958}" dt="2024-08-05T07:54:02.704" v="121" actId="207"/>
          <ac:graphicFrameMkLst>
            <pc:docMk/>
            <pc:sldMk cId="1763573476" sldId="269"/>
            <ac:graphicFrameMk id="4" creationId="{22427995-5A5A-15A8-3F06-87414C285E30}"/>
          </ac:graphicFrameMkLst>
        </pc:graphicFrameChg>
        <pc:graphicFrameChg chg="del">
          <ac:chgData name="Michaelsen, Børje" userId="c36523e3-11ed-4011-9a41-1983019c0634" providerId="ADAL" clId="{50C07F04-D920-4D01-A20B-D11D454E0958}" dt="2024-08-05T07:52:03.388" v="57" actId="478"/>
          <ac:graphicFrameMkLst>
            <pc:docMk/>
            <pc:sldMk cId="1763573476" sldId="269"/>
            <ac:graphicFrameMk id="6" creationId="{A1A94EB7-1276-6FE4-BDE8-4C8AFDB3ADC4}"/>
          </ac:graphicFrameMkLst>
        </pc:graphicFrameChg>
        <pc:picChg chg="mod">
          <ac:chgData name="Michaelsen, Børje" userId="c36523e3-11ed-4011-9a41-1983019c0634" providerId="ADAL" clId="{50C07F04-D920-4D01-A20B-D11D454E0958}" dt="2024-08-05T07:52:26.849" v="87" actId="1035"/>
          <ac:picMkLst>
            <pc:docMk/>
            <pc:sldMk cId="1763573476" sldId="269"/>
            <ac:picMk id="7" creationId="{E88FB574-9C5C-6D5D-27DB-EB3A93C82932}"/>
          </ac:picMkLst>
        </pc:picChg>
        <pc:picChg chg="mod">
          <ac:chgData name="Michaelsen, Børje" userId="c36523e3-11ed-4011-9a41-1983019c0634" providerId="ADAL" clId="{50C07F04-D920-4D01-A20B-D11D454E0958}" dt="2024-08-05T07:53:22.103" v="115" actId="1076"/>
          <ac:picMkLst>
            <pc:docMk/>
            <pc:sldMk cId="1763573476" sldId="269"/>
            <ac:picMk id="8" creationId="{2B31ED66-DB86-9EE4-FFB7-0BAD64CB21E3}"/>
          </ac:picMkLst>
        </pc:picChg>
        <pc:picChg chg="mod">
          <ac:chgData name="Michaelsen, Børje" userId="c36523e3-11ed-4011-9a41-1983019c0634" providerId="ADAL" clId="{50C07F04-D920-4D01-A20B-D11D454E0958}" dt="2024-08-05T07:53:27.304" v="116" actId="1076"/>
          <ac:picMkLst>
            <pc:docMk/>
            <pc:sldMk cId="1763573476" sldId="269"/>
            <ac:picMk id="9" creationId="{55AE8C8D-9E3A-D80A-DD58-070538506059}"/>
          </ac:picMkLst>
        </pc:picChg>
        <pc:picChg chg="mod">
          <ac:chgData name="Michaelsen, Børje" userId="c36523e3-11ed-4011-9a41-1983019c0634" providerId="ADAL" clId="{50C07F04-D920-4D01-A20B-D11D454E0958}" dt="2024-08-05T07:52:26.849" v="87" actId="1035"/>
          <ac:picMkLst>
            <pc:docMk/>
            <pc:sldMk cId="1763573476" sldId="269"/>
            <ac:picMk id="10" creationId="{18F445A5-70C2-1058-659F-0AAF121E2D7F}"/>
          </ac:picMkLst>
        </pc:picChg>
        <pc:picChg chg="mod">
          <ac:chgData name="Michaelsen, Børje" userId="c36523e3-11ed-4011-9a41-1983019c0634" providerId="ADAL" clId="{50C07F04-D920-4D01-A20B-D11D454E0958}" dt="2024-08-05T07:53:38.312" v="117" actId="1076"/>
          <ac:picMkLst>
            <pc:docMk/>
            <pc:sldMk cId="1763573476" sldId="269"/>
            <ac:picMk id="11" creationId="{A70B7425-EDCF-5850-EB83-36F03A315FD3}"/>
          </ac:picMkLst>
        </pc:picChg>
        <pc:picChg chg="mod">
          <ac:chgData name="Michaelsen, Børje" userId="c36523e3-11ed-4011-9a41-1983019c0634" providerId="ADAL" clId="{50C07F04-D920-4D01-A20B-D11D454E0958}" dt="2024-08-05T07:53:44.832" v="118" actId="1076"/>
          <ac:picMkLst>
            <pc:docMk/>
            <pc:sldMk cId="1763573476" sldId="269"/>
            <ac:picMk id="12" creationId="{97BB1E70-2BE2-ABB1-014F-C1B860AFBD6A}"/>
          </ac:picMkLst>
        </pc:picChg>
      </pc:sldChg>
      <pc:sldChg chg="addSp delSp modSp mod modNotesTx">
        <pc:chgData name="Michaelsen, Børje" userId="c36523e3-11ed-4011-9a41-1983019c0634" providerId="ADAL" clId="{50C07F04-D920-4D01-A20B-D11D454E0958}" dt="2024-08-08T11:32:53.174" v="742" actId="20577"/>
        <pc:sldMkLst>
          <pc:docMk/>
          <pc:sldMk cId="1348694183" sldId="272"/>
        </pc:sldMkLst>
        <pc:graphicFrameChg chg="add del mod modGraphic">
          <ac:chgData name="Michaelsen, Børje" userId="c36523e3-11ed-4011-9a41-1983019c0634" providerId="ADAL" clId="{50C07F04-D920-4D01-A20B-D11D454E0958}" dt="2024-08-08T11:32:53.174" v="742" actId="20577"/>
          <ac:graphicFrameMkLst>
            <pc:docMk/>
            <pc:sldMk cId="1348694183" sldId="272"/>
            <ac:graphicFrameMk id="6" creationId="{00000000-0000-0000-0000-000000000000}"/>
          </ac:graphicFrameMkLst>
        </pc:graphicFrameChg>
        <pc:picChg chg="add mod">
          <ac:chgData name="Michaelsen, Børje" userId="c36523e3-11ed-4011-9a41-1983019c0634" providerId="ADAL" clId="{50C07F04-D920-4D01-A20B-D11D454E0958}" dt="2024-08-08T11:31:50.341" v="730"/>
          <ac:picMkLst>
            <pc:docMk/>
            <pc:sldMk cId="1348694183" sldId="272"/>
            <ac:picMk id="3" creationId="{349EAD55-3964-EECF-3CA3-5584868A594B}"/>
          </ac:picMkLst>
        </pc:picChg>
        <pc:picChg chg="add del">
          <ac:chgData name="Michaelsen, Børje" userId="c36523e3-11ed-4011-9a41-1983019c0634" providerId="ADAL" clId="{50C07F04-D920-4D01-A20B-D11D454E0958}" dt="2024-08-08T11:31:48.678" v="729" actId="478"/>
          <ac:picMkLst>
            <pc:docMk/>
            <pc:sldMk cId="1348694183" sldId="272"/>
            <ac:picMk id="4" creationId="{2F1426EA-EA5E-6D12-19E7-4BC62398CF34}"/>
          </ac:picMkLst>
        </pc:picChg>
      </pc:sldChg>
      <pc:sldChg chg="addSp delSp modSp mod modNotesTx">
        <pc:chgData name="Michaelsen, Børje" userId="c36523e3-11ed-4011-9a41-1983019c0634" providerId="ADAL" clId="{50C07F04-D920-4D01-A20B-D11D454E0958}" dt="2024-08-05T13:02:31.709" v="233" actId="27918"/>
        <pc:sldMkLst>
          <pc:docMk/>
          <pc:sldMk cId="4110371661" sldId="275"/>
        </pc:sldMkLst>
        <pc:graphicFrameChg chg="del">
          <ac:chgData name="Michaelsen, Børje" userId="c36523e3-11ed-4011-9a41-1983019c0634" providerId="ADAL" clId="{50C07F04-D920-4D01-A20B-D11D454E0958}" dt="2024-08-05T12:24:54.255" v="187" actId="478"/>
          <ac:graphicFrameMkLst>
            <pc:docMk/>
            <pc:sldMk cId="4110371661" sldId="275"/>
            <ac:graphicFrameMk id="5" creationId="{A9AB4960-5BA5-6AF9-F3ED-65DFE4591263}"/>
          </ac:graphicFrameMkLst>
        </pc:graphicFrameChg>
        <pc:graphicFrameChg chg="add mod">
          <ac:chgData name="Michaelsen, Børje" userId="c36523e3-11ed-4011-9a41-1983019c0634" providerId="ADAL" clId="{50C07F04-D920-4D01-A20B-D11D454E0958}" dt="2024-08-05T12:25:25.337" v="193" actId="14100"/>
          <ac:graphicFrameMkLst>
            <pc:docMk/>
            <pc:sldMk cId="4110371661" sldId="275"/>
            <ac:graphicFrameMk id="6" creationId="{A9AB4960-5BA5-6AF9-F3ED-65DFE4591263}"/>
          </ac:graphicFrameMkLst>
        </pc:graphicFrameChg>
      </pc:sldChg>
      <pc:sldChg chg="addSp delSp modSp mod modNotesTx">
        <pc:chgData name="Michaelsen, Børje" userId="c36523e3-11ed-4011-9a41-1983019c0634" providerId="ADAL" clId="{50C07F04-D920-4D01-A20B-D11D454E0958}" dt="2024-08-05T11:13:39.221" v="185" actId="20577"/>
        <pc:sldMkLst>
          <pc:docMk/>
          <pc:sldMk cId="768537486" sldId="276"/>
        </pc:sldMkLst>
        <pc:spChg chg="mod">
          <ac:chgData name="Michaelsen, Børje" userId="c36523e3-11ed-4011-9a41-1983019c0634" providerId="ADAL" clId="{50C07F04-D920-4D01-A20B-D11D454E0958}" dt="2024-08-05T11:12:47.749" v="144" actId="1035"/>
          <ac:spMkLst>
            <pc:docMk/>
            <pc:sldMk cId="768537486" sldId="276"/>
            <ac:spMk id="5" creationId="{1259BCDE-C1A8-3652-C344-859271CDD0C8}"/>
          </ac:spMkLst>
        </pc:spChg>
        <pc:spChg chg="add del mod">
          <ac:chgData name="Michaelsen, Børje" userId="c36523e3-11ed-4011-9a41-1983019c0634" providerId="ADAL" clId="{50C07F04-D920-4D01-A20B-D11D454E0958}" dt="2024-08-05T11:12:20.659" v="125" actId="478"/>
          <ac:spMkLst>
            <pc:docMk/>
            <pc:sldMk cId="768537486" sldId="276"/>
            <ac:spMk id="6" creationId="{E0A4552D-5027-6192-0EF7-8589B4F8E0BE}"/>
          </ac:spMkLst>
        </pc:spChg>
        <pc:spChg chg="del">
          <ac:chgData name="Michaelsen, Børje" userId="c36523e3-11ed-4011-9a41-1983019c0634" providerId="ADAL" clId="{50C07F04-D920-4D01-A20B-D11D454E0958}" dt="2024-08-05T11:12:18.419" v="124" actId="478"/>
          <ac:spMkLst>
            <pc:docMk/>
            <pc:sldMk cId="768537486" sldId="276"/>
            <ac:spMk id="9" creationId="{00000000-0000-0000-0000-000000000000}"/>
          </ac:spMkLst>
        </pc:spChg>
        <pc:graphicFrameChg chg="add mod modGraphic">
          <ac:chgData name="Michaelsen, Børje" userId="c36523e3-11ed-4011-9a41-1983019c0634" providerId="ADAL" clId="{50C07F04-D920-4D01-A20B-D11D454E0958}" dt="2024-08-05T11:13:39.221" v="185" actId="20577"/>
          <ac:graphicFrameMkLst>
            <pc:docMk/>
            <pc:sldMk cId="768537486" sldId="276"/>
            <ac:graphicFrameMk id="7" creationId="{D6D52708-4DCD-2CC3-B3DD-80633FD8B8D1}"/>
          </ac:graphicFrameMkLst>
        </pc:graphicFrameChg>
        <pc:graphicFrameChg chg="del">
          <ac:chgData name="Michaelsen, Børje" userId="c36523e3-11ed-4011-9a41-1983019c0634" providerId="ADAL" clId="{50C07F04-D920-4D01-A20B-D11D454E0958}" dt="2024-08-05T11:12:23.971" v="126" actId="478"/>
          <ac:graphicFrameMkLst>
            <pc:docMk/>
            <pc:sldMk cId="768537486" sldId="276"/>
            <ac:graphicFrameMk id="8" creationId="{00000000-0000-0000-0000-000000000000}"/>
          </ac:graphicFrameMkLst>
        </pc:graphicFrameChg>
        <pc:picChg chg="del">
          <ac:chgData name="Michaelsen, Børje" userId="c36523e3-11ed-4011-9a41-1983019c0634" providerId="ADAL" clId="{50C07F04-D920-4D01-A20B-D11D454E0958}" dt="2024-08-05T11:12:26.148" v="127" actId="478"/>
          <ac:picMkLst>
            <pc:docMk/>
            <pc:sldMk cId="768537486" sldId="276"/>
            <ac:picMk id="3" creationId="{B8E6DEDC-974D-81F9-72CC-E0F68FEFD9A5}"/>
          </ac:picMkLst>
        </pc:picChg>
        <pc:picChg chg="add mod">
          <ac:chgData name="Michaelsen, Børje" userId="c36523e3-11ed-4011-9a41-1983019c0634" providerId="ADAL" clId="{50C07F04-D920-4D01-A20B-D11D454E0958}" dt="2024-08-05T11:12:36.485" v="128"/>
          <ac:picMkLst>
            <pc:docMk/>
            <pc:sldMk cId="768537486" sldId="276"/>
            <ac:picMk id="10" creationId="{D69D462F-8223-0935-7B28-35F730F42C79}"/>
          </ac:picMkLst>
        </pc:picChg>
        <pc:picChg chg="add mod">
          <ac:chgData name="Michaelsen, Børje" userId="c36523e3-11ed-4011-9a41-1983019c0634" providerId="ADAL" clId="{50C07F04-D920-4D01-A20B-D11D454E0958}" dt="2024-08-05T11:12:36.485" v="128"/>
          <ac:picMkLst>
            <pc:docMk/>
            <pc:sldMk cId="768537486" sldId="276"/>
            <ac:picMk id="11" creationId="{CAEABCBC-DE6C-E964-9CCE-DA3EA2609265}"/>
          </ac:picMkLst>
        </pc:picChg>
      </pc:sldChg>
      <pc:sldChg chg="addSp delSp modSp mod">
        <pc:chgData name="Michaelsen, Børje" userId="c36523e3-11ed-4011-9a41-1983019c0634" providerId="ADAL" clId="{50C07F04-D920-4D01-A20B-D11D454E0958}" dt="2024-08-05T13:46:23.738" v="274" actId="27918"/>
        <pc:sldMkLst>
          <pc:docMk/>
          <pc:sldMk cId="2721633966" sldId="277"/>
        </pc:sldMkLst>
        <pc:graphicFrameChg chg="del">
          <ac:chgData name="Michaelsen, Børje" userId="c36523e3-11ed-4011-9a41-1983019c0634" providerId="ADAL" clId="{50C07F04-D920-4D01-A20B-D11D454E0958}" dt="2024-08-05T13:19:56.517" v="234" actId="478"/>
          <ac:graphicFrameMkLst>
            <pc:docMk/>
            <pc:sldMk cId="2721633966" sldId="277"/>
            <ac:graphicFrameMk id="5" creationId="{1E871170-F82D-1EDA-BE6F-558892AFB706}"/>
          </ac:graphicFrameMkLst>
        </pc:graphicFrameChg>
        <pc:graphicFrameChg chg="add mod">
          <ac:chgData name="Michaelsen, Børje" userId="c36523e3-11ed-4011-9a41-1983019c0634" providerId="ADAL" clId="{50C07F04-D920-4D01-A20B-D11D454E0958}" dt="2024-08-05T13:20:10.436" v="238"/>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50C07F04-D920-4D01-A20B-D11D454E0958}" dt="2024-08-26T13:01:36.744" v="931" actId="13926"/>
        <pc:sldMkLst>
          <pc:docMk/>
          <pc:sldMk cId="662108869" sldId="279"/>
        </pc:sldMkLst>
        <pc:spChg chg="mod">
          <ac:chgData name="Michaelsen, Børje" userId="c36523e3-11ed-4011-9a41-1983019c0634" providerId="ADAL" clId="{50C07F04-D920-4D01-A20B-D11D454E0958}" dt="2024-08-08T07:22:38.168" v="619" actId="20577"/>
          <ac:spMkLst>
            <pc:docMk/>
            <pc:sldMk cId="662108869" sldId="279"/>
            <ac:spMk id="2" creationId="{00000000-0000-0000-0000-000000000000}"/>
          </ac:spMkLst>
        </pc:spChg>
        <pc:spChg chg="mod">
          <ac:chgData name="Michaelsen, Børje" userId="c36523e3-11ed-4011-9a41-1983019c0634" providerId="ADAL" clId="{50C07F04-D920-4D01-A20B-D11D454E0958}" dt="2024-08-26T13:01:36.744" v="931" actId="13926"/>
          <ac:spMkLst>
            <pc:docMk/>
            <pc:sldMk cId="662108869" sldId="279"/>
            <ac:spMk id="10" creationId="{00000000-0000-0000-0000-000000000000}"/>
          </ac:spMkLst>
        </pc:spChg>
        <pc:graphicFrameChg chg="del">
          <ac:chgData name="Michaelsen, Børje" userId="c36523e3-11ed-4011-9a41-1983019c0634" providerId="ADAL" clId="{50C07F04-D920-4D01-A20B-D11D454E0958}" dt="2024-08-08T07:23:06.431" v="620" actId="478"/>
          <ac:graphicFrameMkLst>
            <pc:docMk/>
            <pc:sldMk cId="662108869" sldId="279"/>
            <ac:graphicFrameMk id="3" creationId="{CAA1CB3D-938F-067F-8DA9-50299143B277}"/>
          </ac:graphicFrameMkLst>
        </pc:graphicFrameChg>
        <pc:graphicFrameChg chg="del">
          <ac:chgData name="Michaelsen, Børje" userId="c36523e3-11ed-4011-9a41-1983019c0634" providerId="ADAL" clId="{50C07F04-D920-4D01-A20B-D11D454E0958}" dt="2024-08-08T07:24:35.274" v="623" actId="478"/>
          <ac:graphicFrameMkLst>
            <pc:docMk/>
            <pc:sldMk cId="662108869" sldId="279"/>
            <ac:graphicFrameMk id="4" creationId="{24E4A504-A222-3225-2904-7772932E33DE}"/>
          </ac:graphicFrameMkLst>
        </pc:graphicFrameChg>
        <pc:graphicFrameChg chg="add mod">
          <ac:chgData name="Michaelsen, Børje" userId="c36523e3-11ed-4011-9a41-1983019c0634" providerId="ADAL" clId="{50C07F04-D920-4D01-A20B-D11D454E0958}" dt="2024-08-08T07:23:17.064" v="622" actId="1076"/>
          <ac:graphicFrameMkLst>
            <pc:docMk/>
            <pc:sldMk cId="662108869" sldId="279"/>
            <ac:graphicFrameMk id="6" creationId="{54099CEB-1703-8B3F-4851-D73D649045F6}"/>
          </ac:graphicFrameMkLst>
        </pc:graphicFrameChg>
        <pc:graphicFrameChg chg="add mod">
          <ac:chgData name="Michaelsen, Børje" userId="c36523e3-11ed-4011-9a41-1983019c0634" providerId="ADAL" clId="{50C07F04-D920-4D01-A20B-D11D454E0958}" dt="2024-08-08T07:24:51.962" v="629" actId="14100"/>
          <ac:graphicFrameMkLst>
            <pc:docMk/>
            <pc:sldMk cId="662108869" sldId="279"/>
            <ac:graphicFrameMk id="7" creationId="{24E4A504-A222-3225-2904-7772932E33DE}"/>
          </ac:graphicFrameMkLst>
        </pc:graphicFrameChg>
      </pc:sldChg>
      <pc:sldChg chg="addSp delSp modSp mod">
        <pc:chgData name="Michaelsen, Børje" userId="c36523e3-11ed-4011-9a41-1983019c0634" providerId="ADAL" clId="{50C07F04-D920-4D01-A20B-D11D454E0958}" dt="2024-08-26T11:36:52.602" v="801" actId="20577"/>
        <pc:sldMkLst>
          <pc:docMk/>
          <pc:sldMk cId="835482435" sldId="282"/>
        </pc:sldMkLst>
        <pc:spChg chg="mod">
          <ac:chgData name="Michaelsen, Børje" userId="c36523e3-11ed-4011-9a41-1983019c0634" providerId="ADAL" clId="{50C07F04-D920-4D01-A20B-D11D454E0958}" dt="2024-08-26T11:36:52.602" v="801" actId="20577"/>
          <ac:spMkLst>
            <pc:docMk/>
            <pc:sldMk cId="835482435" sldId="282"/>
            <ac:spMk id="3" creationId="{00000000-0000-0000-0000-000000000000}"/>
          </ac:spMkLst>
        </pc:spChg>
        <pc:graphicFrameChg chg="del">
          <ac:chgData name="Michaelsen, Børje" userId="c36523e3-11ed-4011-9a41-1983019c0634" providerId="ADAL" clId="{50C07F04-D920-4D01-A20B-D11D454E0958}" dt="2024-08-26T11:36:36.173" v="790" actId="478"/>
          <ac:graphicFrameMkLst>
            <pc:docMk/>
            <pc:sldMk cId="835482435" sldId="282"/>
            <ac:graphicFrameMk id="4" creationId="{78039546-200C-51F9-A3B8-CF9627E87368}"/>
          </ac:graphicFrameMkLst>
        </pc:graphicFrameChg>
        <pc:graphicFrameChg chg="add mod">
          <ac:chgData name="Michaelsen, Børje" userId="c36523e3-11ed-4011-9a41-1983019c0634" providerId="ADAL" clId="{50C07F04-D920-4D01-A20B-D11D454E0958}" dt="2024-08-26T11:36:42.737" v="793" actId="1076"/>
          <ac:graphicFrameMkLst>
            <pc:docMk/>
            <pc:sldMk cId="835482435" sldId="282"/>
            <ac:graphicFrameMk id="5" creationId="{78039546-200C-51F9-A3B8-CF9627E87368}"/>
          </ac:graphicFrameMkLst>
        </pc:graphicFrameChg>
      </pc:sldChg>
      <pc:sldChg chg="addSp delSp modSp mod modNotesTx">
        <pc:chgData name="Michaelsen, Børje" userId="c36523e3-11ed-4011-9a41-1983019c0634" providerId="ADAL" clId="{50C07F04-D920-4D01-A20B-D11D454E0958}" dt="2024-08-12T09:10:00.983" v="773" actId="6549"/>
        <pc:sldMkLst>
          <pc:docMk/>
          <pc:sldMk cId="1751997248" sldId="284"/>
        </pc:sldMkLst>
        <pc:spChg chg="mod">
          <ac:chgData name="Michaelsen, Børje" userId="c36523e3-11ed-4011-9a41-1983019c0634" providerId="ADAL" clId="{50C07F04-D920-4D01-A20B-D11D454E0958}" dt="2024-08-12T09:10:00.983" v="773" actId="6549"/>
          <ac:spMkLst>
            <pc:docMk/>
            <pc:sldMk cId="1751997248" sldId="284"/>
            <ac:spMk id="3" creationId="{00000000-0000-0000-0000-000000000000}"/>
          </ac:spMkLst>
        </pc:spChg>
        <pc:spChg chg="mod">
          <ac:chgData name="Michaelsen, Børje" userId="c36523e3-11ed-4011-9a41-1983019c0634" providerId="ADAL" clId="{50C07F04-D920-4D01-A20B-D11D454E0958}" dt="2024-08-12T09:06:54.819" v="754" actId="1076"/>
          <ac:spMkLst>
            <pc:docMk/>
            <pc:sldMk cId="1751997248" sldId="284"/>
            <ac:spMk id="29" creationId="{00000000-0000-0000-0000-000000000000}"/>
          </ac:spMkLst>
        </pc:spChg>
        <pc:picChg chg="del">
          <ac:chgData name="Michaelsen, Børje" userId="c36523e3-11ed-4011-9a41-1983019c0634" providerId="ADAL" clId="{50C07F04-D920-4D01-A20B-D11D454E0958}" dt="2024-08-12T09:06:26.731" v="747" actId="478"/>
          <ac:picMkLst>
            <pc:docMk/>
            <pc:sldMk cId="1751997248" sldId="284"/>
            <ac:picMk id="40" creationId="{C94BB9D9-353B-93F7-B7F8-D9C88EDEDD68}"/>
          </ac:picMkLst>
        </pc:picChg>
        <pc:picChg chg="add mod ord">
          <ac:chgData name="Michaelsen, Børje" userId="c36523e3-11ed-4011-9a41-1983019c0634" providerId="ADAL" clId="{50C07F04-D920-4D01-A20B-D11D454E0958}" dt="2024-08-12T09:07:52.240" v="758" actId="962"/>
          <ac:picMkLst>
            <pc:docMk/>
            <pc:sldMk cId="1751997248" sldId="284"/>
            <ac:picMk id="42" creationId="{EAC818AA-139F-1D5B-A1C0-1C6F00CEC76E}"/>
          </ac:picMkLst>
        </pc:picChg>
        <pc:picChg chg="mod">
          <ac:chgData name="Michaelsen, Børje" userId="c36523e3-11ed-4011-9a41-1983019c0634" providerId="ADAL" clId="{50C07F04-D920-4D01-A20B-D11D454E0958}" dt="2024-08-12T09:08:37.320" v="763" actId="167"/>
          <ac:picMkLst>
            <pc:docMk/>
            <pc:sldMk cId="1751997248" sldId="284"/>
            <ac:picMk id="2050" creationId="{00000000-0000-0000-0000-000000000000}"/>
          </ac:picMkLst>
        </pc:picChg>
      </pc:sldChg>
      <pc:sldChg chg="addSp delSp modSp mod">
        <pc:chgData name="Michaelsen, Børje" userId="c36523e3-11ed-4011-9a41-1983019c0634" providerId="ADAL" clId="{50C07F04-D920-4D01-A20B-D11D454E0958}" dt="2024-08-07T09:56:49.664" v="467" actId="27918"/>
        <pc:sldMkLst>
          <pc:docMk/>
          <pc:sldMk cId="2938880870" sldId="288"/>
        </pc:sldMkLst>
        <pc:spChg chg="mod">
          <ac:chgData name="Michaelsen, Børje" userId="c36523e3-11ed-4011-9a41-1983019c0634" providerId="ADAL" clId="{50C07F04-D920-4D01-A20B-D11D454E0958}" dt="2024-08-06T12:37:57.827" v="362" actId="1076"/>
          <ac:spMkLst>
            <pc:docMk/>
            <pc:sldMk cId="2938880870" sldId="288"/>
            <ac:spMk id="5" creationId="{72C38B41-131A-AFC1-9683-784948204578}"/>
          </ac:spMkLst>
        </pc:spChg>
        <pc:spChg chg="mod">
          <ac:chgData name="Michaelsen, Børje" userId="c36523e3-11ed-4011-9a41-1983019c0634" providerId="ADAL" clId="{50C07F04-D920-4D01-A20B-D11D454E0958}" dt="2024-08-06T13:10:59.770" v="424" actId="6549"/>
          <ac:spMkLst>
            <pc:docMk/>
            <pc:sldMk cId="2938880870" sldId="288"/>
            <ac:spMk id="7" creationId="{00000000-0000-0000-0000-000000000000}"/>
          </ac:spMkLst>
        </pc:spChg>
        <pc:spChg chg="mod">
          <ac:chgData name="Michaelsen, Børje" userId="c36523e3-11ed-4011-9a41-1983019c0634" providerId="ADAL" clId="{50C07F04-D920-4D01-A20B-D11D454E0958}" dt="2024-08-06T12:40:22.776" v="400" actId="20577"/>
          <ac:spMkLst>
            <pc:docMk/>
            <pc:sldMk cId="2938880870" sldId="288"/>
            <ac:spMk id="18" creationId="{00000000-0000-0000-0000-000000000000}"/>
          </ac:spMkLst>
        </pc:spChg>
        <pc:graphicFrameChg chg="del">
          <ac:chgData name="Michaelsen, Børje" userId="c36523e3-11ed-4011-9a41-1983019c0634" providerId="ADAL" clId="{50C07F04-D920-4D01-A20B-D11D454E0958}" dt="2024-08-06T12:37:32.209" v="358" actId="478"/>
          <ac:graphicFrameMkLst>
            <pc:docMk/>
            <pc:sldMk cId="2938880870" sldId="288"/>
            <ac:graphicFrameMk id="3" creationId="{00000000-0008-0000-0100-000002000000}"/>
          </ac:graphicFrameMkLst>
        </pc:graphicFrameChg>
        <pc:graphicFrameChg chg="del">
          <ac:chgData name="Michaelsen, Børje" userId="c36523e3-11ed-4011-9a41-1983019c0634" providerId="ADAL" clId="{50C07F04-D920-4D01-A20B-D11D454E0958}" dt="2024-08-06T12:39:54.639" v="389" actId="478"/>
          <ac:graphicFrameMkLst>
            <pc:docMk/>
            <pc:sldMk cId="2938880870" sldId="288"/>
            <ac:graphicFrameMk id="4" creationId="{00000000-0008-0000-0300-000003000000}"/>
          </ac:graphicFrameMkLst>
        </pc:graphicFrameChg>
        <pc:graphicFrameChg chg="add mod">
          <ac:chgData name="Michaelsen, Børje" userId="c36523e3-11ed-4011-9a41-1983019c0634" providerId="ADAL" clId="{50C07F04-D920-4D01-A20B-D11D454E0958}" dt="2024-08-06T13:11:05.094" v="428" actId="1036"/>
          <ac:graphicFrameMkLst>
            <pc:docMk/>
            <pc:sldMk cId="2938880870" sldId="288"/>
            <ac:graphicFrameMk id="8" creationId="{00000000-0008-0000-0100-000002000000}"/>
          </ac:graphicFrameMkLst>
        </pc:graphicFrameChg>
        <pc:graphicFrameChg chg="add mod">
          <ac:chgData name="Michaelsen, Børje" userId="c36523e3-11ed-4011-9a41-1983019c0634" providerId="ADAL" clId="{50C07F04-D920-4D01-A20B-D11D454E0958}" dt="2024-08-06T13:11:14.366" v="429" actId="1076"/>
          <ac:graphicFrameMkLst>
            <pc:docMk/>
            <pc:sldMk cId="2938880870" sldId="288"/>
            <ac:graphicFrameMk id="9" creationId="{00000000-0008-0000-0300-000003000000}"/>
          </ac:graphicFrameMkLst>
        </pc:graphicFrameChg>
      </pc:sldChg>
      <pc:sldChg chg="addSp delSp modSp mod">
        <pc:chgData name="Michaelsen, Børje" userId="c36523e3-11ed-4011-9a41-1983019c0634" providerId="ADAL" clId="{50C07F04-D920-4D01-A20B-D11D454E0958}" dt="2024-08-06T06:47:47.465" v="292" actId="1076"/>
        <pc:sldMkLst>
          <pc:docMk/>
          <pc:sldMk cId="990372706" sldId="289"/>
        </pc:sldMkLst>
        <pc:graphicFrameChg chg="del">
          <ac:chgData name="Michaelsen, Børje" userId="c36523e3-11ed-4011-9a41-1983019c0634" providerId="ADAL" clId="{50C07F04-D920-4D01-A20B-D11D454E0958}" dt="2024-08-06T06:47:25.954" v="287" actId="478"/>
          <ac:graphicFrameMkLst>
            <pc:docMk/>
            <pc:sldMk cId="990372706" sldId="289"/>
            <ac:graphicFrameMk id="4" creationId="{00000000-0008-0000-0000-000002000000}"/>
          </ac:graphicFrameMkLst>
        </pc:graphicFrameChg>
        <pc:graphicFrameChg chg="del">
          <ac:chgData name="Michaelsen, Børje" userId="c36523e3-11ed-4011-9a41-1983019c0634" providerId="ADAL" clId="{50C07F04-D920-4D01-A20B-D11D454E0958}" dt="2024-08-06T06:46:01.006" v="275" actId="478"/>
          <ac:graphicFrameMkLst>
            <pc:docMk/>
            <pc:sldMk cId="990372706" sldId="289"/>
            <ac:graphicFrameMk id="5" creationId="{00000000-0008-0000-0200-000002000000}"/>
          </ac:graphicFrameMkLst>
        </pc:graphicFrameChg>
        <pc:graphicFrameChg chg="del">
          <ac:chgData name="Michaelsen, Børje" userId="c36523e3-11ed-4011-9a41-1983019c0634" providerId="ADAL" clId="{50C07F04-D920-4D01-A20B-D11D454E0958}" dt="2024-08-06T06:46:42.479" v="280" actId="478"/>
          <ac:graphicFrameMkLst>
            <pc:docMk/>
            <pc:sldMk cId="990372706" sldId="289"/>
            <ac:graphicFrameMk id="6" creationId="{00000000-0008-0000-0000-000002000000}"/>
          </ac:graphicFrameMkLst>
        </pc:graphicFrameChg>
        <pc:graphicFrameChg chg="add mod">
          <ac:chgData name="Michaelsen, Børje" userId="c36523e3-11ed-4011-9a41-1983019c0634" providerId="ADAL" clId="{50C07F04-D920-4D01-A20B-D11D454E0958}" dt="2024-08-06T06:47:08.873" v="286" actId="14100"/>
          <ac:graphicFrameMkLst>
            <pc:docMk/>
            <pc:sldMk cId="990372706" sldId="289"/>
            <ac:graphicFrameMk id="8" creationId="{00000000-0008-0000-0200-000002000000}"/>
          </ac:graphicFrameMkLst>
        </pc:graphicFrameChg>
        <pc:graphicFrameChg chg="add mod">
          <ac:chgData name="Michaelsen, Børje" userId="c36523e3-11ed-4011-9a41-1983019c0634" providerId="ADAL" clId="{50C07F04-D920-4D01-A20B-D11D454E0958}" dt="2024-08-06T06:47:47.465" v="292" actId="1076"/>
          <ac:graphicFrameMkLst>
            <pc:docMk/>
            <pc:sldMk cId="990372706" sldId="289"/>
            <ac:graphicFrameMk id="9" creationId="{028D2252-F4B0-498F-AA99-FB6CF217ADD0}"/>
          </ac:graphicFrameMkLst>
        </pc:graphicFrameChg>
        <pc:graphicFrameChg chg="add mod">
          <ac:chgData name="Michaelsen, Børje" userId="c36523e3-11ed-4011-9a41-1983019c0634" providerId="ADAL" clId="{50C07F04-D920-4D01-A20B-D11D454E0958}" dt="2024-08-06T06:47:43.537" v="291" actId="1076"/>
          <ac:graphicFrameMkLst>
            <pc:docMk/>
            <pc:sldMk cId="990372706" sldId="289"/>
            <ac:graphicFrameMk id="10" creationId="{00000000-0008-0000-0000-000002000000}"/>
          </ac:graphicFrameMkLst>
        </pc:graphicFrameChg>
      </pc:sldChg>
      <pc:sldChg chg="addSp delSp modSp mod modNotesTx">
        <pc:chgData name="Michaelsen, Børje" userId="c36523e3-11ed-4011-9a41-1983019c0634" providerId="ADAL" clId="{50C07F04-D920-4D01-A20B-D11D454E0958}" dt="2024-08-05T07:51:32.735" v="53" actId="20577"/>
        <pc:sldMkLst>
          <pc:docMk/>
          <pc:sldMk cId="559240798" sldId="1093"/>
        </pc:sldMkLst>
        <pc:picChg chg="add mod">
          <ac:chgData name="Michaelsen, Børje" userId="c36523e3-11ed-4011-9a41-1983019c0634" providerId="ADAL" clId="{50C07F04-D920-4D01-A20B-D11D454E0958}" dt="2024-08-05T07:51:18.896" v="24" actId="1037"/>
          <ac:picMkLst>
            <pc:docMk/>
            <pc:sldMk cId="559240798" sldId="1093"/>
            <ac:picMk id="2" creationId="{9ED16172-C3D5-8141-DDBA-F023E7536CAB}"/>
          </ac:picMkLst>
        </pc:picChg>
        <pc:picChg chg="add mod">
          <ac:chgData name="Michaelsen, Børje" userId="c36523e3-11ed-4011-9a41-1983019c0634" providerId="ADAL" clId="{50C07F04-D920-4D01-A20B-D11D454E0958}" dt="2024-08-05T07:51:29.335" v="51" actId="1037"/>
          <ac:picMkLst>
            <pc:docMk/>
            <pc:sldMk cId="559240798" sldId="1093"/>
            <ac:picMk id="3" creationId="{9E448481-832A-35B7-1CDD-47F0120F02E0}"/>
          </ac:picMkLst>
        </pc:picChg>
        <pc:picChg chg="add mod">
          <ac:chgData name="Michaelsen, Børje" userId="c36523e3-11ed-4011-9a41-1983019c0634" providerId="ADAL" clId="{50C07F04-D920-4D01-A20B-D11D454E0958}" dt="2024-08-05T07:51:25.348" v="42" actId="1037"/>
          <ac:picMkLst>
            <pc:docMk/>
            <pc:sldMk cId="559240798" sldId="1093"/>
            <ac:picMk id="4" creationId="{052C2109-C201-6D87-C7B9-CCF183200AAD}"/>
          </ac:picMkLst>
        </pc:picChg>
        <pc:picChg chg="del">
          <ac:chgData name="Michaelsen, Børje" userId="c36523e3-11ed-4011-9a41-1983019c0634" providerId="ADAL" clId="{50C07F04-D920-4D01-A20B-D11D454E0958}" dt="2024-08-05T07:50:55.944" v="0" actId="478"/>
          <ac:picMkLst>
            <pc:docMk/>
            <pc:sldMk cId="559240798" sldId="1093"/>
            <ac:picMk id="15" creationId="{F8E05E94-D546-4936-0171-28F363AAC3C3}"/>
          </ac:picMkLst>
        </pc:picChg>
        <pc:picChg chg="del">
          <ac:chgData name="Michaelsen, Børje" userId="c36523e3-11ed-4011-9a41-1983019c0634" providerId="ADAL" clId="{50C07F04-D920-4D01-A20B-D11D454E0958}" dt="2024-08-05T07:50:55.944" v="0" actId="478"/>
          <ac:picMkLst>
            <pc:docMk/>
            <pc:sldMk cId="559240798" sldId="1093"/>
            <ac:picMk id="16" creationId="{40DFF8E8-EA72-34A8-1FD1-27D796B733EA}"/>
          </ac:picMkLst>
        </pc:picChg>
        <pc:picChg chg="del">
          <ac:chgData name="Michaelsen, Børje" userId="c36523e3-11ed-4011-9a41-1983019c0634" providerId="ADAL" clId="{50C07F04-D920-4D01-A20B-D11D454E0958}" dt="2024-08-05T07:50:55.944" v="0" actId="478"/>
          <ac:picMkLst>
            <pc:docMk/>
            <pc:sldMk cId="559240798" sldId="1093"/>
            <ac:picMk id="17" creationId="{E23712BA-72A5-001B-A2EA-CCF35A8264FF}"/>
          </ac:picMkLst>
        </pc:picChg>
      </pc:sldChg>
    </pc:docChg>
  </pc:docChgLst>
  <pc:docChgLst>
    <pc:chgData name="Lindaas, Gunnar Ogwyn" userId="9f116345-df17-4e62-ba90-3f104129b024" providerId="ADAL" clId="{8DC179BE-7BFA-4B82-AC85-E38AD7CD139D}"/>
    <pc:docChg chg="modSld">
      <pc:chgData name="Lindaas, Gunnar Ogwyn" userId="9f116345-df17-4e62-ba90-3f104129b024" providerId="ADAL" clId="{8DC179BE-7BFA-4B82-AC85-E38AD7CD139D}" dt="2023-09-21T12:27:51.933" v="252" actId="20577"/>
      <pc:docMkLst>
        <pc:docMk/>
      </pc:docMkLst>
      <pc:sldChg chg="modSp mod">
        <pc:chgData name="Lindaas, Gunnar Ogwyn" userId="9f116345-df17-4e62-ba90-3f104129b024" providerId="ADAL" clId="{8DC179BE-7BFA-4B82-AC85-E38AD7CD139D}" dt="2023-09-21T12:27:51.933" v="252" actId="20577"/>
        <pc:sldMkLst>
          <pc:docMk/>
          <pc:sldMk cId="2044844844" sldId="273"/>
        </pc:sldMkLst>
        <pc:spChg chg="mod">
          <ac:chgData name="Lindaas, Gunnar Ogwyn" userId="9f116345-df17-4e62-ba90-3f104129b024" providerId="ADAL" clId="{8DC179BE-7BFA-4B82-AC85-E38AD7CD139D}" dt="2023-09-21T12:27:51.933" v="252" actId="20577"/>
          <ac:spMkLst>
            <pc:docMk/>
            <pc:sldMk cId="2044844844" sldId="273"/>
            <ac:spMk id="5" creationId="{00000000-0000-0000-0000-000000000000}"/>
          </ac:spMkLst>
        </pc:spChg>
        <pc:picChg chg="mod">
          <ac:chgData name="Lindaas, Gunnar Ogwyn" userId="9f116345-df17-4e62-ba90-3f104129b024" providerId="ADAL" clId="{8DC179BE-7BFA-4B82-AC85-E38AD7CD139D}" dt="2023-09-21T11:49:51.501" v="1" actId="1076"/>
          <ac:picMkLst>
            <pc:docMk/>
            <pc:sldMk cId="2044844844" sldId="273"/>
            <ac:picMk id="3" creationId="{00000000-0000-0000-0000-000000000000}"/>
          </ac:picMkLst>
        </pc:picChg>
      </pc:sldChg>
    </pc:docChg>
  </pc:docChgLst>
  <pc:docChgLst>
    <pc:chgData name="Michaelsen, Børje" userId="c36523e3-11ed-4011-9a41-1983019c0634" providerId="ADAL" clId="{DC8383EE-1F39-4596-ADEC-6C914FA21851}"/>
    <pc:docChg chg="custSel modSld">
      <pc:chgData name="Michaelsen, Børje" userId="c36523e3-11ed-4011-9a41-1983019c0634" providerId="ADAL" clId="{DC8383EE-1F39-4596-ADEC-6C914FA21851}" dt="2024-11-11T08:26:23.840" v="59" actId="6549"/>
      <pc:docMkLst>
        <pc:docMk/>
      </pc:docMkLst>
      <pc:sldChg chg="addSp delSp modSp mod">
        <pc:chgData name="Michaelsen, Børje" userId="c36523e3-11ed-4011-9a41-1983019c0634" providerId="ADAL" clId="{DC8383EE-1F39-4596-ADEC-6C914FA21851}" dt="2024-10-29T18:39:23.973" v="16" actId="14100"/>
        <pc:sldMkLst>
          <pc:docMk/>
          <pc:sldMk cId="3237931907" sldId="263"/>
        </pc:sldMkLst>
        <pc:graphicFrameChg chg="add mod">
          <ac:chgData name="Michaelsen, Børje" userId="c36523e3-11ed-4011-9a41-1983019c0634" providerId="ADAL" clId="{DC8383EE-1F39-4596-ADEC-6C914FA21851}" dt="2024-10-29T18:39:01.311" v="11" actId="1076"/>
          <ac:graphicFrameMkLst>
            <pc:docMk/>
            <pc:sldMk cId="3237931907" sldId="263"/>
            <ac:graphicFrameMk id="3" creationId="{900796C7-9568-AA7D-48B1-D162673FAB3E}"/>
          </ac:graphicFrameMkLst>
        </pc:graphicFrameChg>
        <pc:graphicFrameChg chg="del">
          <ac:chgData name="Michaelsen, Børje" userId="c36523e3-11ed-4011-9a41-1983019c0634" providerId="ADAL" clId="{DC8383EE-1F39-4596-ADEC-6C914FA21851}" dt="2024-10-29T18:38:55.028" v="9" actId="478"/>
          <ac:graphicFrameMkLst>
            <pc:docMk/>
            <pc:sldMk cId="3237931907" sldId="263"/>
            <ac:graphicFrameMk id="4" creationId="{900796C7-9568-AA7D-48B1-D162673FAB3E}"/>
          </ac:graphicFrameMkLst>
        </pc:graphicFrameChg>
        <pc:graphicFrameChg chg="add mod">
          <ac:chgData name="Michaelsen, Børje" userId="c36523e3-11ed-4011-9a41-1983019c0634" providerId="ADAL" clId="{DC8383EE-1F39-4596-ADEC-6C914FA21851}" dt="2024-10-29T18:39:23.973" v="16" actId="14100"/>
          <ac:graphicFrameMkLst>
            <pc:docMk/>
            <pc:sldMk cId="3237931907" sldId="263"/>
            <ac:graphicFrameMk id="5" creationId="{E5C71C2E-AF53-CAD5-0770-CF80592B48C1}"/>
          </ac:graphicFrameMkLst>
        </pc:graphicFrameChg>
        <pc:graphicFrameChg chg="del">
          <ac:chgData name="Michaelsen, Børje" userId="c36523e3-11ed-4011-9a41-1983019c0634" providerId="ADAL" clId="{DC8383EE-1F39-4596-ADEC-6C914FA21851}" dt="2024-10-29T18:39:06.236" v="12" actId="478"/>
          <ac:graphicFrameMkLst>
            <pc:docMk/>
            <pc:sldMk cId="3237931907" sldId="263"/>
            <ac:graphicFrameMk id="7" creationId="{E5C71C2E-AF53-CAD5-0770-CF80592B48C1}"/>
          </ac:graphicFrameMkLst>
        </pc:graphicFrameChg>
      </pc:sldChg>
      <pc:sldChg chg="addSp delSp modSp mod">
        <pc:chgData name="Michaelsen, Børje" userId="c36523e3-11ed-4011-9a41-1983019c0634" providerId="ADAL" clId="{DC8383EE-1F39-4596-ADEC-6C914FA21851}" dt="2024-10-29T18:41:45.807" v="24" actId="14100"/>
        <pc:sldMkLst>
          <pc:docMk/>
          <pc:sldMk cId="4110371661" sldId="275"/>
        </pc:sldMkLst>
        <pc:graphicFrameChg chg="add mod">
          <ac:chgData name="Michaelsen, Børje" userId="c36523e3-11ed-4011-9a41-1983019c0634" providerId="ADAL" clId="{DC8383EE-1F39-4596-ADEC-6C914FA21851}" dt="2024-10-29T18:41:45.807" v="24" actId="14100"/>
          <ac:graphicFrameMkLst>
            <pc:docMk/>
            <pc:sldMk cId="4110371661" sldId="275"/>
            <ac:graphicFrameMk id="5" creationId="{A9AB4960-5BA5-6AF9-F3ED-65DFE4591263}"/>
          </ac:graphicFrameMkLst>
        </pc:graphicFrameChg>
        <pc:graphicFrameChg chg="del">
          <ac:chgData name="Michaelsen, Børje" userId="c36523e3-11ed-4011-9a41-1983019c0634" providerId="ADAL" clId="{DC8383EE-1F39-4596-ADEC-6C914FA21851}" dt="2024-10-29T18:41:37.681" v="21" actId="478"/>
          <ac:graphicFrameMkLst>
            <pc:docMk/>
            <pc:sldMk cId="4110371661" sldId="275"/>
            <ac:graphicFrameMk id="6" creationId="{A9AB4960-5BA5-6AF9-F3ED-65DFE4591263}"/>
          </ac:graphicFrameMkLst>
        </pc:graphicFrameChg>
      </pc:sldChg>
      <pc:sldChg chg="addSp delSp modSp mod">
        <pc:chgData name="Michaelsen, Børje" userId="c36523e3-11ed-4011-9a41-1983019c0634" providerId="ADAL" clId="{DC8383EE-1F39-4596-ADEC-6C914FA21851}" dt="2024-10-29T18:42:15.905" v="28"/>
        <pc:sldMkLst>
          <pc:docMk/>
          <pc:sldMk cId="2721633966" sldId="277"/>
        </pc:sldMkLst>
        <pc:graphicFrameChg chg="add mod">
          <ac:chgData name="Michaelsen, Børje" userId="c36523e3-11ed-4011-9a41-1983019c0634" providerId="ADAL" clId="{DC8383EE-1F39-4596-ADEC-6C914FA21851}" dt="2024-10-29T18:42:15.905" v="28"/>
          <ac:graphicFrameMkLst>
            <pc:docMk/>
            <pc:sldMk cId="2721633966" sldId="277"/>
            <ac:graphicFrameMk id="5" creationId="{1E871170-F82D-1EDA-BE6F-558892AFB706}"/>
          </ac:graphicFrameMkLst>
        </pc:graphicFrameChg>
        <pc:graphicFrameChg chg="del">
          <ac:chgData name="Michaelsen, Børje" userId="c36523e3-11ed-4011-9a41-1983019c0634" providerId="ADAL" clId="{DC8383EE-1F39-4596-ADEC-6C914FA21851}" dt="2024-10-29T18:42:04.714" v="25" actId="478"/>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DC8383EE-1F39-4596-ADEC-6C914FA21851}" dt="2024-10-29T18:40:55.797" v="20" actId="14100"/>
        <pc:sldMkLst>
          <pc:docMk/>
          <pc:sldMk cId="662108869" sldId="279"/>
        </pc:sldMkLst>
        <pc:graphicFrameChg chg="add mod">
          <ac:chgData name="Michaelsen, Børje" userId="c36523e3-11ed-4011-9a41-1983019c0634" providerId="ADAL" clId="{DC8383EE-1F39-4596-ADEC-6C914FA21851}" dt="2024-10-29T18:40:55.797" v="20" actId="14100"/>
          <ac:graphicFrameMkLst>
            <pc:docMk/>
            <pc:sldMk cId="662108869" sldId="279"/>
            <ac:graphicFrameMk id="3" creationId="{24E4A504-A222-3225-2904-7772932E33DE}"/>
          </ac:graphicFrameMkLst>
        </pc:graphicFrameChg>
        <pc:graphicFrameChg chg="del">
          <ac:chgData name="Michaelsen, Børje" userId="c36523e3-11ed-4011-9a41-1983019c0634" providerId="ADAL" clId="{DC8383EE-1F39-4596-ADEC-6C914FA21851}" dt="2024-10-29T18:40:47.620" v="17" actId="478"/>
          <ac:graphicFrameMkLst>
            <pc:docMk/>
            <pc:sldMk cId="662108869" sldId="279"/>
            <ac:graphicFrameMk id="7" creationId="{24E4A504-A222-3225-2904-7772932E33DE}"/>
          </ac:graphicFrameMkLst>
        </pc:graphicFrameChg>
      </pc:sldChg>
      <pc:sldChg chg="addSp delSp modSp mod">
        <pc:chgData name="Michaelsen, Børje" userId="c36523e3-11ed-4011-9a41-1983019c0634" providerId="ADAL" clId="{DC8383EE-1F39-4596-ADEC-6C914FA21851}" dt="2024-10-29T18:38:32.759" v="8" actId="14100"/>
        <pc:sldMkLst>
          <pc:docMk/>
          <pc:sldMk cId="2938880870" sldId="288"/>
        </pc:sldMkLst>
        <pc:spChg chg="mod">
          <ac:chgData name="Michaelsen, Børje" userId="c36523e3-11ed-4011-9a41-1983019c0634" providerId="ADAL" clId="{DC8383EE-1F39-4596-ADEC-6C914FA21851}" dt="2024-10-29T18:37:51.046" v="3" actId="1076"/>
          <ac:spMkLst>
            <pc:docMk/>
            <pc:sldMk cId="2938880870" sldId="288"/>
            <ac:spMk id="5" creationId="{72C38B41-131A-AFC1-9683-784948204578}"/>
          </ac:spMkLst>
        </pc:spChg>
        <pc:graphicFrameChg chg="add mod">
          <ac:chgData name="Michaelsen, Børje" userId="c36523e3-11ed-4011-9a41-1983019c0634" providerId="ADAL" clId="{DC8383EE-1F39-4596-ADEC-6C914FA21851}" dt="2024-10-29T18:37:56.726" v="4" actId="1076"/>
          <ac:graphicFrameMkLst>
            <pc:docMk/>
            <pc:sldMk cId="2938880870" sldId="288"/>
            <ac:graphicFrameMk id="3" creationId="{00000000-0008-0000-0100-000002000000}"/>
          </ac:graphicFrameMkLst>
        </pc:graphicFrameChg>
        <pc:graphicFrameChg chg="add mod">
          <ac:chgData name="Michaelsen, Børje" userId="c36523e3-11ed-4011-9a41-1983019c0634" providerId="ADAL" clId="{DC8383EE-1F39-4596-ADEC-6C914FA21851}" dt="2024-10-29T18:38:32.759" v="8" actId="14100"/>
          <ac:graphicFrameMkLst>
            <pc:docMk/>
            <pc:sldMk cId="2938880870" sldId="288"/>
            <ac:graphicFrameMk id="4" creationId="{00000000-0008-0000-0300-000003000000}"/>
          </ac:graphicFrameMkLst>
        </pc:graphicFrameChg>
        <pc:graphicFrameChg chg="del">
          <ac:chgData name="Michaelsen, Børje" userId="c36523e3-11ed-4011-9a41-1983019c0634" providerId="ADAL" clId="{DC8383EE-1F39-4596-ADEC-6C914FA21851}" dt="2024-10-29T18:37:38.970" v="0" actId="478"/>
          <ac:graphicFrameMkLst>
            <pc:docMk/>
            <pc:sldMk cId="2938880870" sldId="288"/>
            <ac:graphicFrameMk id="8" creationId="{00000000-0008-0000-0100-000002000000}"/>
          </ac:graphicFrameMkLst>
        </pc:graphicFrameChg>
        <pc:graphicFrameChg chg="del">
          <ac:chgData name="Michaelsen, Børje" userId="c36523e3-11ed-4011-9a41-1983019c0634" providerId="ADAL" clId="{DC8383EE-1F39-4596-ADEC-6C914FA21851}" dt="2024-10-29T18:38:21.157" v="5" actId="478"/>
          <ac:graphicFrameMkLst>
            <pc:docMk/>
            <pc:sldMk cId="2938880870" sldId="288"/>
            <ac:graphicFrameMk id="9" creationId="{00000000-0008-0000-0300-000003000000}"/>
          </ac:graphicFrameMkLst>
        </pc:graphicFrameChg>
      </pc:sldChg>
      <pc:sldChg chg="addSp delSp modSp mod modNotesTx">
        <pc:chgData name="Michaelsen, Børje" userId="c36523e3-11ed-4011-9a41-1983019c0634" providerId="ADAL" clId="{DC8383EE-1F39-4596-ADEC-6C914FA21851}" dt="2024-11-11T08:26:23.840" v="59" actId="6549"/>
        <pc:sldMkLst>
          <pc:docMk/>
          <pc:sldMk cId="1557024307" sldId="290"/>
        </pc:sldMkLst>
        <pc:spChg chg="mod">
          <ac:chgData name="Michaelsen, Børje" userId="c36523e3-11ed-4011-9a41-1983019c0634" providerId="ADAL" clId="{DC8383EE-1F39-4596-ADEC-6C914FA21851}" dt="2024-11-11T08:25:52.715" v="56" actId="20577"/>
          <ac:spMkLst>
            <pc:docMk/>
            <pc:sldMk cId="1557024307" sldId="290"/>
            <ac:spMk id="12" creationId="{00000000-0000-0000-0000-000000000000}"/>
          </ac:spMkLst>
        </pc:spChg>
        <pc:graphicFrameChg chg="del">
          <ac:chgData name="Michaelsen, Børje" userId="c36523e3-11ed-4011-9a41-1983019c0634" providerId="ADAL" clId="{DC8383EE-1F39-4596-ADEC-6C914FA21851}" dt="2024-11-11T08:22:54.204" v="29" actId="478"/>
          <ac:graphicFrameMkLst>
            <pc:docMk/>
            <pc:sldMk cId="1557024307" sldId="290"/>
            <ac:graphicFrameMk id="2" creationId="{A2828B79-FC1F-CAD7-0E1E-06FB7EDB49F0}"/>
          </ac:graphicFrameMkLst>
        </pc:graphicFrameChg>
        <pc:graphicFrameChg chg="add mod">
          <ac:chgData name="Michaelsen, Børje" userId="c36523e3-11ed-4011-9a41-1983019c0634" providerId="ADAL" clId="{DC8383EE-1F39-4596-ADEC-6C914FA21851}" dt="2024-11-11T08:23:54.783" v="32"/>
          <ac:graphicFrameMkLst>
            <pc:docMk/>
            <pc:sldMk cId="1557024307" sldId="290"/>
            <ac:graphicFrameMk id="4" creationId="{8E44FFB8-1F8F-A867-D0FF-B96BB286E5D3}"/>
          </ac:graphicFrameMkLst>
        </pc:graphicFrameChg>
      </pc:sldChg>
    </pc:docChg>
  </pc:docChgLst>
  <pc:docChgLst>
    <pc:chgData name="Michaelsen, Børje" userId="c36523e3-11ed-4011-9a41-1983019c0634" providerId="ADAL" clId="{E6A33FFF-2505-483E-9155-3932C1EC5308}"/>
    <pc:docChg chg="undo custSel addSld delSld modSld">
      <pc:chgData name="Michaelsen, Børje" userId="c36523e3-11ed-4011-9a41-1983019c0634" providerId="ADAL" clId="{E6A33FFF-2505-483E-9155-3932C1EC5308}" dt="2023-10-10T08:44:06.853" v="1827" actId="13244"/>
      <pc:docMkLst>
        <pc:docMk/>
      </pc:docMkLst>
      <pc:sldChg chg="modSp mod">
        <pc:chgData name="Michaelsen, Børje" userId="c36523e3-11ed-4011-9a41-1983019c0634" providerId="ADAL" clId="{E6A33FFF-2505-483E-9155-3932C1EC5308}" dt="2023-09-15T08:08:32.537" v="714" actId="962"/>
        <pc:sldMkLst>
          <pc:docMk/>
          <pc:sldMk cId="1115595437" sldId="256"/>
        </pc:sldMkLst>
        <pc:picChg chg="mod">
          <ac:chgData name="Michaelsen, Børje" userId="c36523e3-11ed-4011-9a41-1983019c0634" providerId="ADAL" clId="{E6A33FFF-2505-483E-9155-3932C1EC5308}" dt="2023-09-15T08:08:32.537" v="714" actId="962"/>
          <ac:picMkLst>
            <pc:docMk/>
            <pc:sldMk cId="1115595437" sldId="256"/>
            <ac:picMk id="4" creationId="{00000000-0000-0000-0000-000000000000}"/>
          </ac:picMkLst>
        </pc:picChg>
      </pc:sldChg>
      <pc:sldChg chg="modSp mod modNotesTx">
        <pc:chgData name="Michaelsen, Børje" userId="c36523e3-11ed-4011-9a41-1983019c0634" providerId="ADAL" clId="{E6A33FFF-2505-483E-9155-3932C1EC5308}" dt="2023-09-15T08:24:34.707" v="1061"/>
        <pc:sldMkLst>
          <pc:docMk/>
          <pc:sldMk cId="1380386693" sldId="260"/>
        </pc:sldMkLst>
        <pc:graphicFrameChg chg="mod modGraphic">
          <ac:chgData name="Michaelsen, Børje" userId="c36523e3-11ed-4011-9a41-1983019c0634" providerId="ADAL" clId="{E6A33FFF-2505-483E-9155-3932C1EC5308}" dt="2023-09-15T08:09:13.826" v="720" actId="962"/>
          <ac:graphicFrameMkLst>
            <pc:docMk/>
            <pc:sldMk cId="1380386693" sldId="260"/>
            <ac:graphicFrameMk id="3" creationId="{00000000-0000-0000-0000-000000000000}"/>
          </ac:graphicFrameMkLst>
        </pc:graphicFrameChg>
        <pc:graphicFrameChg chg="mod modGraphic">
          <ac:chgData name="Michaelsen, Børje" userId="c36523e3-11ed-4011-9a41-1983019c0634" providerId="ADAL" clId="{E6A33FFF-2505-483E-9155-3932C1EC5308}" dt="2023-09-15T08:09:45.046" v="728" actId="12385"/>
          <ac:graphicFrameMkLst>
            <pc:docMk/>
            <pc:sldMk cId="1380386693" sldId="260"/>
            <ac:graphicFrameMk id="8" creationId="{00000000-0000-0000-0000-000000000000}"/>
          </ac:graphicFrameMkLst>
        </pc:graphicFrameChg>
        <pc:graphicFrameChg chg="mod ord modGraphic">
          <ac:chgData name="Michaelsen, Børje" userId="c36523e3-11ed-4011-9a41-1983019c0634" providerId="ADAL" clId="{E6A33FFF-2505-483E-9155-3932C1EC5308}" dt="2023-09-15T08:24:34.707" v="1061"/>
          <ac:graphicFrameMkLst>
            <pc:docMk/>
            <pc:sldMk cId="1380386693" sldId="260"/>
            <ac:graphicFrameMk id="9" creationId="{00000000-0000-0000-0000-000000000000}"/>
          </ac:graphicFrameMkLst>
        </pc:graphicFrameChg>
        <pc:graphicFrameChg chg="mod ord modGraphic">
          <ac:chgData name="Michaelsen, Børje" userId="c36523e3-11ed-4011-9a41-1983019c0634" providerId="ADAL" clId="{E6A33FFF-2505-483E-9155-3932C1EC5308}" dt="2023-09-15T08:24:31.523" v="1060"/>
          <ac:graphicFrameMkLst>
            <pc:docMk/>
            <pc:sldMk cId="1380386693" sldId="260"/>
            <ac:graphicFrameMk id="10" creationId="{00000000-0000-0000-0000-000000000000}"/>
          </ac:graphicFrameMkLst>
        </pc:graphicFrameChg>
        <pc:picChg chg="mod ord">
          <ac:chgData name="Michaelsen, Børje" userId="c36523e3-11ed-4011-9a41-1983019c0634" providerId="ADAL" clId="{E6A33FFF-2505-483E-9155-3932C1EC5308}" dt="2023-09-15T08:24:26.079" v="1058"/>
          <ac:picMkLst>
            <pc:docMk/>
            <pc:sldMk cId="1380386693" sldId="260"/>
            <ac:picMk id="5" creationId="{00000000-0000-0000-0000-000000000000}"/>
          </ac:picMkLst>
        </pc:picChg>
        <pc:picChg chg="mod">
          <ac:chgData name="Michaelsen, Børje" userId="c36523e3-11ed-4011-9a41-1983019c0634" providerId="ADAL" clId="{E6A33FFF-2505-483E-9155-3932C1EC5308}" dt="2023-09-15T08:09:02.608" v="718" actId="962"/>
          <ac:picMkLst>
            <pc:docMk/>
            <pc:sldMk cId="1380386693" sldId="260"/>
            <ac:picMk id="7" creationId="{00000000-0000-0000-0000-000000000000}"/>
          </ac:picMkLst>
        </pc:picChg>
      </pc:sldChg>
      <pc:sldChg chg="addSp delSp modSp mod modNotesTx">
        <pc:chgData name="Michaelsen, Børje" userId="c36523e3-11ed-4011-9a41-1983019c0634" providerId="ADAL" clId="{E6A33FFF-2505-483E-9155-3932C1EC5308}" dt="2023-09-25T10:25:08.106" v="1388"/>
        <pc:sldMkLst>
          <pc:docMk/>
          <pc:sldMk cId="4123357996" sldId="261"/>
        </pc:sldMkLst>
        <pc:spChg chg="mod">
          <ac:chgData name="Michaelsen, Børje" userId="c36523e3-11ed-4011-9a41-1983019c0634" providerId="ADAL" clId="{E6A33FFF-2505-483E-9155-3932C1EC5308}" dt="2023-09-25T10:23:55.251" v="1384" actId="20577"/>
          <ac:spMkLst>
            <pc:docMk/>
            <pc:sldMk cId="4123357996" sldId="261"/>
            <ac:spMk id="3" creationId="{0E208661-40B4-4483-9A05-FE473BED7235}"/>
          </ac:spMkLst>
        </pc:spChg>
        <pc:spChg chg="add mod">
          <ac:chgData name="Michaelsen, Børje" userId="c36523e3-11ed-4011-9a41-1983019c0634" providerId="ADAL" clId="{E6A33FFF-2505-483E-9155-3932C1EC5308}" dt="2023-09-25T10:22:57.975" v="1372"/>
          <ac:spMkLst>
            <pc:docMk/>
            <pc:sldMk cId="4123357996" sldId="261"/>
            <ac:spMk id="5" creationId="{C658FB2D-A70D-2E6D-AD3C-7302E630964D}"/>
          </ac:spMkLst>
        </pc:spChg>
        <pc:spChg chg="del">
          <ac:chgData name="Michaelsen, Børje" userId="c36523e3-11ed-4011-9a41-1983019c0634" providerId="ADAL" clId="{E6A33FFF-2505-483E-9155-3932C1EC5308}" dt="2023-09-15T08:16:23.647" v="882" actId="478"/>
          <ac:spMkLst>
            <pc:docMk/>
            <pc:sldMk cId="4123357996" sldId="261"/>
            <ac:spMk id="7" creationId="{A6D52CC4-017C-4342-80C6-B635DE3CFF15}"/>
          </ac:spMkLst>
        </pc:spChg>
        <pc:spChg chg="ord">
          <ac:chgData name="Michaelsen, Børje" userId="c36523e3-11ed-4011-9a41-1983019c0634" providerId="ADAL" clId="{E6A33FFF-2505-483E-9155-3932C1EC5308}" dt="2023-09-15T08:27:18.307" v="1119"/>
          <ac:spMkLst>
            <pc:docMk/>
            <pc:sldMk cId="4123357996" sldId="261"/>
            <ac:spMk id="8" creationId="{00000000-0000-0000-0000-000000000000}"/>
          </ac:spMkLst>
        </pc:spChg>
        <pc:graphicFrameChg chg="add mod ord modGraphic">
          <ac:chgData name="Michaelsen, Børje" userId="c36523e3-11ed-4011-9a41-1983019c0634" providerId="ADAL" clId="{E6A33FFF-2505-483E-9155-3932C1EC5308}" dt="2023-09-25T10:22:53.350" v="1371" actId="1076"/>
          <ac:graphicFrameMkLst>
            <pc:docMk/>
            <pc:sldMk cId="4123357996" sldId="261"/>
            <ac:graphicFrameMk id="4" creationId="{08A17351-A099-5DB4-EBE0-848D2D26F06F}"/>
          </ac:graphicFrameMkLst>
        </pc:graphicFrameChg>
        <pc:graphicFrameChg chg="add mod">
          <ac:chgData name="Michaelsen, Børje" userId="c36523e3-11ed-4011-9a41-1983019c0634" providerId="ADAL" clId="{E6A33FFF-2505-483E-9155-3932C1EC5308}" dt="2023-09-25T10:25:08.106" v="1388"/>
          <ac:graphicFrameMkLst>
            <pc:docMk/>
            <pc:sldMk cId="4123357996" sldId="261"/>
            <ac:graphicFrameMk id="6" creationId="{18197FB1-9372-F1DC-4225-665AF0196003}"/>
          </ac:graphicFrameMkLst>
        </pc:graphicFrameChg>
        <pc:graphicFrameChg chg="del mod">
          <ac:chgData name="Michaelsen, Børje" userId="c36523e3-11ed-4011-9a41-1983019c0634" providerId="ADAL" clId="{E6A33FFF-2505-483E-9155-3932C1EC5308}" dt="2023-09-25T10:23:28.070" v="1374" actId="478"/>
          <ac:graphicFrameMkLst>
            <pc:docMk/>
            <pc:sldMk cId="4123357996" sldId="261"/>
            <ac:graphicFrameMk id="9" creationId="{00000000-0000-0000-0000-000000000000}"/>
          </ac:graphicFrameMkLst>
        </pc:graphicFrameChg>
        <pc:picChg chg="del">
          <ac:chgData name="Michaelsen, Børje" userId="c36523e3-11ed-4011-9a41-1983019c0634" providerId="ADAL" clId="{E6A33FFF-2505-483E-9155-3932C1EC5308}" dt="2023-09-13T14:10:15.381" v="710" actId="478"/>
          <ac:picMkLst>
            <pc:docMk/>
            <pc:sldMk cId="4123357996" sldId="261"/>
            <ac:picMk id="5" creationId="{00000000-0000-0000-0000-000000000000}"/>
          </ac:picMkLst>
        </pc:picChg>
      </pc:sldChg>
      <pc:sldChg chg="modSp mod">
        <pc:chgData name="Michaelsen, Børje" userId="c36523e3-11ed-4011-9a41-1983019c0634" providerId="ADAL" clId="{E6A33FFF-2505-483E-9155-3932C1EC5308}" dt="2023-09-15T08:15:52.516" v="841" actId="962"/>
        <pc:sldMkLst>
          <pc:docMk/>
          <pc:sldMk cId="1502201355" sldId="262"/>
        </pc:sldMkLst>
        <pc:picChg chg="mod">
          <ac:chgData name="Michaelsen, Børje" userId="c36523e3-11ed-4011-9a41-1983019c0634" providerId="ADAL" clId="{E6A33FFF-2505-483E-9155-3932C1EC5308}" dt="2023-09-15T08:15:38.480" v="834" actId="962"/>
          <ac:picMkLst>
            <pc:docMk/>
            <pc:sldMk cId="1502201355" sldId="262"/>
            <ac:picMk id="4" creationId="{00000000-0000-0000-0000-000000000000}"/>
          </ac:picMkLst>
        </pc:picChg>
        <pc:picChg chg="mod">
          <ac:chgData name="Michaelsen, Børje" userId="c36523e3-11ed-4011-9a41-1983019c0634" providerId="ADAL" clId="{E6A33FFF-2505-483E-9155-3932C1EC5308}" dt="2023-09-15T08:15:40.361" v="835" actId="962"/>
          <ac:picMkLst>
            <pc:docMk/>
            <pc:sldMk cId="1502201355" sldId="262"/>
            <ac:picMk id="5" creationId="{00000000-0000-0000-0000-000000000000}"/>
          </ac:picMkLst>
        </pc:picChg>
        <pc:picChg chg="mod">
          <ac:chgData name="Michaelsen, Børje" userId="c36523e3-11ed-4011-9a41-1983019c0634" providerId="ADAL" clId="{E6A33FFF-2505-483E-9155-3932C1EC5308}" dt="2023-09-15T08:15:42.130" v="836" actId="962"/>
          <ac:picMkLst>
            <pc:docMk/>
            <pc:sldMk cId="1502201355" sldId="262"/>
            <ac:picMk id="6" creationId="{00000000-0000-0000-0000-000000000000}"/>
          </ac:picMkLst>
        </pc:picChg>
        <pc:picChg chg="mod">
          <ac:chgData name="Michaelsen, Børje" userId="c36523e3-11ed-4011-9a41-1983019c0634" providerId="ADAL" clId="{E6A33FFF-2505-483E-9155-3932C1EC5308}" dt="2023-09-15T08:15:44.914" v="837" actId="962"/>
          <ac:picMkLst>
            <pc:docMk/>
            <pc:sldMk cId="1502201355" sldId="262"/>
            <ac:picMk id="7" creationId="{00000000-0000-0000-0000-000000000000}"/>
          </ac:picMkLst>
        </pc:picChg>
        <pc:picChg chg="mod">
          <ac:chgData name="Michaelsen, Børje" userId="c36523e3-11ed-4011-9a41-1983019c0634" providerId="ADAL" clId="{E6A33FFF-2505-483E-9155-3932C1EC5308}" dt="2023-09-15T08:15:46.458" v="838" actId="962"/>
          <ac:picMkLst>
            <pc:docMk/>
            <pc:sldMk cId="1502201355" sldId="262"/>
            <ac:picMk id="8" creationId="{00000000-0000-0000-0000-000000000000}"/>
          </ac:picMkLst>
        </pc:picChg>
        <pc:picChg chg="mod">
          <ac:chgData name="Michaelsen, Børje" userId="c36523e3-11ed-4011-9a41-1983019c0634" providerId="ADAL" clId="{E6A33FFF-2505-483E-9155-3932C1EC5308}" dt="2023-09-15T08:15:48.381" v="839" actId="962"/>
          <ac:picMkLst>
            <pc:docMk/>
            <pc:sldMk cId="1502201355" sldId="262"/>
            <ac:picMk id="9" creationId="{00000000-0000-0000-0000-000000000000}"/>
          </ac:picMkLst>
        </pc:picChg>
        <pc:picChg chg="mod">
          <ac:chgData name="Michaelsen, Børje" userId="c36523e3-11ed-4011-9a41-1983019c0634" providerId="ADAL" clId="{E6A33FFF-2505-483E-9155-3932C1EC5308}" dt="2023-09-15T08:15:50.537" v="840" actId="962"/>
          <ac:picMkLst>
            <pc:docMk/>
            <pc:sldMk cId="1502201355" sldId="262"/>
            <ac:picMk id="10" creationId="{00000000-0000-0000-0000-000000000000}"/>
          </ac:picMkLst>
        </pc:picChg>
        <pc:picChg chg="mod">
          <ac:chgData name="Michaelsen, Børje" userId="c36523e3-11ed-4011-9a41-1983019c0634" providerId="ADAL" clId="{E6A33FFF-2505-483E-9155-3932C1EC5308}" dt="2023-09-15T08:15:52.516" v="841" actId="962"/>
          <ac:picMkLst>
            <pc:docMk/>
            <pc:sldMk cId="1502201355" sldId="262"/>
            <ac:picMk id="11" creationId="{00000000-0000-0000-0000-000000000000}"/>
          </ac:picMkLst>
        </pc:picChg>
      </pc:sldChg>
      <pc:sldChg chg="addSp delSp modSp mod">
        <pc:chgData name="Michaelsen, Børje" userId="c36523e3-11ed-4011-9a41-1983019c0634" providerId="ADAL" clId="{E6A33FFF-2505-483E-9155-3932C1EC5308}" dt="2023-09-15T08:26:37.936" v="1116"/>
        <pc:sldMkLst>
          <pc:docMk/>
          <pc:sldMk cId="3237931907" sldId="263"/>
        </pc:sldMkLst>
        <pc:spChg chg="mod">
          <ac:chgData name="Michaelsen, Børje" userId="c36523e3-11ed-4011-9a41-1983019c0634" providerId="ADAL" clId="{E6A33FFF-2505-483E-9155-3932C1EC5308}" dt="2023-09-13T09:35:46.517" v="628" actId="20577"/>
          <ac:spMkLst>
            <pc:docMk/>
            <pc:sldMk cId="3237931907" sldId="263"/>
            <ac:spMk id="10" creationId="{00000000-0000-0000-0000-000000000000}"/>
          </ac:spMkLst>
        </pc:spChg>
        <pc:graphicFrameChg chg="add mod">
          <ac:chgData name="Michaelsen, Børje" userId="c36523e3-11ed-4011-9a41-1983019c0634" providerId="ADAL" clId="{E6A33FFF-2505-483E-9155-3932C1EC5308}" dt="2023-09-15T08:26:37.936" v="1116"/>
          <ac:graphicFrameMkLst>
            <pc:docMk/>
            <pc:sldMk cId="3237931907" sldId="263"/>
            <ac:graphicFrameMk id="3" creationId="{900796C7-9568-AA7D-48B1-D162673FAB3E}"/>
          </ac:graphicFrameMkLst>
        </pc:graphicFrameChg>
        <pc:graphicFrameChg chg="del">
          <ac:chgData name="Michaelsen, Børje" userId="c36523e3-11ed-4011-9a41-1983019c0634" providerId="ADAL" clId="{E6A33FFF-2505-483E-9155-3932C1EC5308}" dt="2023-09-13T09:37:18.692" v="635" actId="478"/>
          <ac:graphicFrameMkLst>
            <pc:docMk/>
            <pc:sldMk cId="3237931907" sldId="263"/>
            <ac:graphicFrameMk id="4" creationId="{00000000-0000-0000-0000-000000000000}"/>
          </ac:graphicFrameMkLst>
        </pc:graphicFrameChg>
        <pc:graphicFrameChg chg="add mod">
          <ac:chgData name="Michaelsen, Børje" userId="c36523e3-11ed-4011-9a41-1983019c0634" providerId="ADAL" clId="{E6A33FFF-2505-483E-9155-3932C1EC5308}" dt="2023-09-15T08:14:51.899" v="829" actId="962"/>
          <ac:graphicFrameMkLst>
            <pc:docMk/>
            <pc:sldMk cId="3237931907" sldId="263"/>
            <ac:graphicFrameMk id="5" creationId="{E5C71C2E-AF53-CAD5-0770-CF80592B48C1}"/>
          </ac:graphicFrameMkLst>
        </pc:graphicFrameChg>
        <pc:graphicFrameChg chg="add mod modGraphic">
          <ac:chgData name="Michaelsen, Børje" userId="c36523e3-11ed-4011-9a41-1983019c0634" providerId="ADAL" clId="{E6A33FFF-2505-483E-9155-3932C1EC5308}" dt="2023-09-15T08:23:42.288" v="1052" actId="113"/>
          <ac:graphicFrameMkLst>
            <pc:docMk/>
            <pc:sldMk cId="3237931907" sldId="263"/>
            <ac:graphicFrameMk id="6" creationId="{5811086E-7EBB-5CCF-E9C8-6A367F6717D6}"/>
          </ac:graphicFrameMkLst>
        </pc:graphicFrameChg>
        <pc:graphicFrameChg chg="del">
          <ac:chgData name="Michaelsen, Børje" userId="c36523e3-11ed-4011-9a41-1983019c0634" providerId="ADAL" clId="{E6A33FFF-2505-483E-9155-3932C1EC5308}" dt="2023-09-13T09:34:23.524" v="597" actId="478"/>
          <ac:graphicFrameMkLst>
            <pc:docMk/>
            <pc:sldMk cId="3237931907" sldId="263"/>
            <ac:graphicFrameMk id="8" creationId="{00000000-0008-0000-0100-000002000000}"/>
          </ac:graphicFrameMkLst>
        </pc:graphicFrameChg>
        <pc:graphicFrameChg chg="del">
          <ac:chgData name="Michaelsen, Børje" userId="c36523e3-11ed-4011-9a41-1983019c0634" providerId="ADAL" clId="{E6A33FFF-2505-483E-9155-3932C1EC5308}" dt="2023-09-13T09:36:45.392" v="629" actId="478"/>
          <ac:graphicFrameMkLst>
            <pc:docMk/>
            <pc:sldMk cId="3237931907" sldId="263"/>
            <ac:graphicFrameMk id="9" creationId="{00000000-0008-0000-0100-000005000000}"/>
          </ac:graphicFrameMkLst>
        </pc:graphicFrameChg>
      </pc:sldChg>
      <pc:sldChg chg="modSp mod">
        <pc:chgData name="Michaelsen, Børje" userId="c36523e3-11ed-4011-9a41-1983019c0634" providerId="ADAL" clId="{E6A33FFF-2505-483E-9155-3932C1EC5308}" dt="2023-09-15T08:19:39.691" v="931" actId="962"/>
        <pc:sldMkLst>
          <pc:docMk/>
          <pc:sldMk cId="445425979" sldId="264"/>
        </pc:sldMkLst>
        <pc:picChg chg="mod">
          <ac:chgData name="Michaelsen, Børje" userId="c36523e3-11ed-4011-9a41-1983019c0634" providerId="ADAL" clId="{E6A33FFF-2505-483E-9155-3932C1EC5308}" dt="2023-09-15T08:19:33.108" v="928" actId="962"/>
          <ac:picMkLst>
            <pc:docMk/>
            <pc:sldMk cId="445425979" sldId="264"/>
            <ac:picMk id="4" creationId="{00000000-0000-0000-0000-000000000000}"/>
          </ac:picMkLst>
        </pc:picChg>
        <pc:picChg chg="mod">
          <ac:chgData name="Michaelsen, Børje" userId="c36523e3-11ed-4011-9a41-1983019c0634" providerId="ADAL" clId="{E6A33FFF-2505-483E-9155-3932C1EC5308}" dt="2023-09-15T08:19:34.901" v="929" actId="962"/>
          <ac:picMkLst>
            <pc:docMk/>
            <pc:sldMk cId="445425979" sldId="264"/>
            <ac:picMk id="5" creationId="{00000000-0000-0000-0000-000000000000}"/>
          </ac:picMkLst>
        </pc:picChg>
        <pc:picChg chg="mod">
          <ac:chgData name="Michaelsen, Børje" userId="c36523e3-11ed-4011-9a41-1983019c0634" providerId="ADAL" clId="{E6A33FFF-2505-483E-9155-3932C1EC5308}" dt="2023-09-15T08:19:37.961" v="930" actId="962"/>
          <ac:picMkLst>
            <pc:docMk/>
            <pc:sldMk cId="445425979" sldId="264"/>
            <ac:picMk id="6" creationId="{00000000-0000-0000-0000-000000000000}"/>
          </ac:picMkLst>
        </pc:picChg>
        <pc:picChg chg="mod">
          <ac:chgData name="Michaelsen, Børje" userId="c36523e3-11ed-4011-9a41-1983019c0634" providerId="ADAL" clId="{E6A33FFF-2505-483E-9155-3932C1EC5308}" dt="2023-09-15T08:19:39.691" v="931" actId="962"/>
          <ac:picMkLst>
            <pc:docMk/>
            <pc:sldMk cId="445425979" sldId="264"/>
            <ac:picMk id="7" creationId="{00000000-0000-0000-0000-000000000000}"/>
          </ac:picMkLst>
        </pc:picChg>
      </pc:sldChg>
      <pc:sldChg chg="modSp mod">
        <pc:chgData name="Michaelsen, Børje" userId="c36523e3-11ed-4011-9a41-1983019c0634" providerId="ADAL" clId="{E6A33FFF-2505-483E-9155-3932C1EC5308}" dt="2023-09-15T08:11:44.051" v="780" actId="962"/>
        <pc:sldMkLst>
          <pc:docMk/>
          <pc:sldMk cId="2441531406" sldId="267"/>
        </pc:sldMkLst>
        <pc:picChg chg="mod">
          <ac:chgData name="Michaelsen, Børje" userId="c36523e3-11ed-4011-9a41-1983019c0634" providerId="ADAL" clId="{E6A33FFF-2505-483E-9155-3932C1EC5308}" dt="2023-09-15T08:11:37.387" v="777" actId="962"/>
          <ac:picMkLst>
            <pc:docMk/>
            <pc:sldMk cId="2441531406" sldId="267"/>
            <ac:picMk id="4" creationId="{00000000-0000-0000-0000-000000000000}"/>
          </ac:picMkLst>
        </pc:picChg>
        <pc:picChg chg="mod">
          <ac:chgData name="Michaelsen, Børje" userId="c36523e3-11ed-4011-9a41-1983019c0634" providerId="ADAL" clId="{E6A33FFF-2505-483E-9155-3932C1EC5308}" dt="2023-09-15T08:11:39.992" v="778" actId="962"/>
          <ac:picMkLst>
            <pc:docMk/>
            <pc:sldMk cId="2441531406" sldId="267"/>
            <ac:picMk id="5" creationId="{00000000-0000-0000-0000-000000000000}"/>
          </ac:picMkLst>
        </pc:picChg>
        <pc:picChg chg="mod">
          <ac:chgData name="Michaelsen, Børje" userId="c36523e3-11ed-4011-9a41-1983019c0634" providerId="ADAL" clId="{E6A33FFF-2505-483E-9155-3932C1EC5308}" dt="2023-09-15T08:11:41.881" v="779" actId="962"/>
          <ac:picMkLst>
            <pc:docMk/>
            <pc:sldMk cId="2441531406" sldId="267"/>
            <ac:picMk id="6" creationId="{00000000-0000-0000-0000-000000000000}"/>
          </ac:picMkLst>
        </pc:picChg>
        <pc:picChg chg="mod">
          <ac:chgData name="Michaelsen, Børje" userId="c36523e3-11ed-4011-9a41-1983019c0634" providerId="ADAL" clId="{E6A33FFF-2505-483E-9155-3932C1EC5308}" dt="2023-09-15T08:11:44.051" v="780" actId="962"/>
          <ac:picMkLst>
            <pc:docMk/>
            <pc:sldMk cId="2441531406" sldId="267"/>
            <ac:picMk id="7" creationId="{00000000-0000-0000-0000-000000000000}"/>
          </ac:picMkLst>
        </pc:picChg>
      </pc:sldChg>
      <pc:sldChg chg="addSp modSp mod">
        <pc:chgData name="Michaelsen, Børje" userId="c36523e3-11ed-4011-9a41-1983019c0634" providerId="ADAL" clId="{E6A33FFF-2505-483E-9155-3932C1EC5308}" dt="2023-09-29T12:51:24.163" v="1700"/>
        <pc:sldMkLst>
          <pc:docMk/>
          <pc:sldMk cId="394652420" sldId="268"/>
        </pc:sldMkLst>
        <pc:spChg chg="add mod">
          <ac:chgData name="Michaelsen, Børje" userId="c36523e3-11ed-4011-9a41-1983019c0634" providerId="ADAL" clId="{E6A33FFF-2505-483E-9155-3932C1EC5308}" dt="2023-09-29T12:51:24.163" v="1700"/>
          <ac:spMkLst>
            <pc:docMk/>
            <pc:sldMk cId="394652420" sldId="268"/>
            <ac:spMk id="4" creationId="{623F5FD2-FA8D-DBAD-3E71-C1ACC8ED2307}"/>
          </ac:spMkLst>
        </pc:spChg>
        <pc:picChg chg="mod ord">
          <ac:chgData name="Michaelsen, Børje" userId="c36523e3-11ed-4011-9a41-1983019c0634" providerId="ADAL" clId="{E6A33FFF-2505-483E-9155-3932C1EC5308}" dt="2023-09-15T08:28:46.217" v="1133"/>
          <ac:picMkLst>
            <pc:docMk/>
            <pc:sldMk cId="394652420" sldId="268"/>
            <ac:picMk id="6" creationId="{00000000-0000-0000-0000-000000000000}"/>
          </ac:picMkLst>
        </pc:picChg>
      </pc:sldChg>
      <pc:sldChg chg="addSp delSp modSp mod modNotesTx">
        <pc:chgData name="Michaelsen, Børje" userId="c36523e3-11ed-4011-9a41-1983019c0634" providerId="ADAL" clId="{E6A33FFF-2505-483E-9155-3932C1EC5308}" dt="2023-09-15T08:29:03.163" v="1140" actId="962"/>
        <pc:sldMkLst>
          <pc:docMk/>
          <pc:sldMk cId="1763573476" sldId="269"/>
        </pc:sldMkLst>
        <pc:spChg chg="mod">
          <ac:chgData name="Michaelsen, Børje" userId="c36523e3-11ed-4011-9a41-1983019c0634" providerId="ADAL" clId="{E6A33FFF-2505-483E-9155-3932C1EC5308}" dt="2023-08-29T13:35:27.836" v="238" actId="14100"/>
          <ac:spMkLst>
            <pc:docMk/>
            <pc:sldMk cId="1763573476" sldId="269"/>
            <ac:spMk id="3" creationId="{00000000-0000-0000-0000-000000000000}"/>
          </ac:spMkLst>
        </pc:spChg>
        <pc:spChg chg="add mod">
          <ac:chgData name="Michaelsen, Børje" userId="c36523e3-11ed-4011-9a41-1983019c0634" providerId="ADAL" clId="{E6A33FFF-2505-483E-9155-3932C1EC5308}" dt="2023-08-29T13:35:36.513" v="239"/>
          <ac:spMkLst>
            <pc:docMk/>
            <pc:sldMk cId="1763573476" sldId="269"/>
            <ac:spMk id="5" creationId="{EB0A9251-D27D-EDB6-2E21-792824CC31B3}"/>
          </ac:spMkLst>
        </pc:spChg>
        <pc:graphicFrameChg chg="add mod">
          <ac:chgData name="Michaelsen, Børje" userId="c36523e3-11ed-4011-9a41-1983019c0634" providerId="ADAL" clId="{E6A33FFF-2505-483E-9155-3932C1EC5308}" dt="2023-09-15T08:28:55.970" v="1134"/>
          <ac:graphicFrameMkLst>
            <pc:docMk/>
            <pc:sldMk cId="1763573476" sldId="269"/>
            <ac:graphicFrameMk id="6" creationId="{A1A94EB7-1276-6FE4-BDE8-4C8AFDB3ADC4}"/>
          </ac:graphicFrameMkLst>
        </pc:graphicFrameChg>
        <pc:picChg chg="del">
          <ac:chgData name="Michaelsen, Børje" userId="c36523e3-11ed-4011-9a41-1983019c0634" providerId="ADAL" clId="{E6A33FFF-2505-483E-9155-3932C1EC5308}" dt="2023-08-29T13:35:39.117" v="240" actId="478"/>
          <ac:picMkLst>
            <pc:docMk/>
            <pc:sldMk cId="1763573476" sldId="269"/>
            <ac:picMk id="4" creationId="{00000000-0000-0000-0000-000000000000}"/>
          </ac:picMkLst>
        </pc:picChg>
        <pc:picChg chg="add mod">
          <ac:chgData name="Michaelsen, Børje" userId="c36523e3-11ed-4011-9a41-1983019c0634" providerId="ADAL" clId="{E6A33FFF-2505-483E-9155-3932C1EC5308}" dt="2023-09-15T08:29:00.095" v="1135" actId="962"/>
          <ac:picMkLst>
            <pc:docMk/>
            <pc:sldMk cId="1763573476" sldId="269"/>
            <ac:picMk id="7" creationId="{E88FB574-9C5C-6D5D-27DB-EB3A93C82932}"/>
          </ac:picMkLst>
        </pc:picChg>
        <pc:picChg chg="add mod">
          <ac:chgData name="Michaelsen, Børje" userId="c36523e3-11ed-4011-9a41-1983019c0634" providerId="ADAL" clId="{E6A33FFF-2505-483E-9155-3932C1EC5308}" dt="2023-09-15T08:29:00.697" v="1136" actId="962"/>
          <ac:picMkLst>
            <pc:docMk/>
            <pc:sldMk cId="1763573476" sldId="269"/>
            <ac:picMk id="8" creationId="{2B31ED66-DB86-9EE4-FFB7-0BAD64CB21E3}"/>
          </ac:picMkLst>
        </pc:picChg>
        <pc:picChg chg="add mod">
          <ac:chgData name="Michaelsen, Børje" userId="c36523e3-11ed-4011-9a41-1983019c0634" providerId="ADAL" clId="{E6A33FFF-2505-483E-9155-3932C1EC5308}" dt="2023-09-15T08:29:01.280" v="1137" actId="962"/>
          <ac:picMkLst>
            <pc:docMk/>
            <pc:sldMk cId="1763573476" sldId="269"/>
            <ac:picMk id="9" creationId="{55AE8C8D-9E3A-D80A-DD58-070538506059}"/>
          </ac:picMkLst>
        </pc:picChg>
        <pc:picChg chg="add mod">
          <ac:chgData name="Michaelsen, Børje" userId="c36523e3-11ed-4011-9a41-1983019c0634" providerId="ADAL" clId="{E6A33FFF-2505-483E-9155-3932C1EC5308}" dt="2023-09-15T08:29:01.777" v="1138" actId="962"/>
          <ac:picMkLst>
            <pc:docMk/>
            <pc:sldMk cId="1763573476" sldId="269"/>
            <ac:picMk id="10" creationId="{18F445A5-70C2-1058-659F-0AAF121E2D7F}"/>
          </ac:picMkLst>
        </pc:picChg>
        <pc:picChg chg="add mod">
          <ac:chgData name="Michaelsen, Børje" userId="c36523e3-11ed-4011-9a41-1983019c0634" providerId="ADAL" clId="{E6A33FFF-2505-483E-9155-3932C1EC5308}" dt="2023-09-15T08:29:02.528" v="1139" actId="962"/>
          <ac:picMkLst>
            <pc:docMk/>
            <pc:sldMk cId="1763573476" sldId="269"/>
            <ac:picMk id="11" creationId="{A70B7425-EDCF-5850-EB83-36F03A315FD3}"/>
          </ac:picMkLst>
        </pc:picChg>
        <pc:picChg chg="add mod">
          <ac:chgData name="Michaelsen, Børje" userId="c36523e3-11ed-4011-9a41-1983019c0634" providerId="ADAL" clId="{E6A33FFF-2505-483E-9155-3932C1EC5308}" dt="2023-09-15T08:29:03.163" v="1140" actId="962"/>
          <ac:picMkLst>
            <pc:docMk/>
            <pc:sldMk cId="1763573476" sldId="269"/>
            <ac:picMk id="12" creationId="{97BB1E70-2BE2-ABB1-014F-C1B860AFBD6A}"/>
          </ac:picMkLst>
        </pc:picChg>
      </pc:sldChg>
      <pc:sldChg chg="addSp delSp modSp mod">
        <pc:chgData name="Michaelsen, Børje" userId="c36523e3-11ed-4011-9a41-1983019c0634" providerId="ADAL" clId="{E6A33FFF-2505-483E-9155-3932C1EC5308}" dt="2023-09-15T08:23:29.320" v="1050" actId="12385"/>
        <pc:sldMkLst>
          <pc:docMk/>
          <pc:sldMk cId="1348694183" sldId="272"/>
        </pc:sldMkLst>
        <pc:spChg chg="del">
          <ac:chgData name="Michaelsen, Børje" userId="c36523e3-11ed-4011-9a41-1983019c0634" providerId="ADAL" clId="{E6A33FFF-2505-483E-9155-3932C1EC5308}" dt="2023-08-28T07:06:18.992" v="67" actId="478"/>
          <ac:spMkLst>
            <pc:docMk/>
            <pc:sldMk cId="1348694183" sldId="272"/>
            <ac:spMk id="7" creationId="{00000000-0000-0000-0000-000000000000}"/>
          </ac:spMkLst>
        </pc:spChg>
        <pc:spChg chg="add mod">
          <ac:chgData name="Michaelsen, Børje" userId="c36523e3-11ed-4011-9a41-1983019c0634" providerId="ADAL" clId="{E6A33FFF-2505-483E-9155-3932C1EC5308}" dt="2023-08-28T07:06:54.062" v="86" actId="1035"/>
          <ac:spMkLst>
            <pc:docMk/>
            <pc:sldMk cId="1348694183" sldId="272"/>
            <ac:spMk id="8" creationId="{2657CD77-47C6-5BFC-5EDA-CF9073283A46}"/>
          </ac:spMkLst>
        </pc:spChg>
        <pc:graphicFrameChg chg="mod modGraphic">
          <ac:chgData name="Michaelsen, Børje" userId="c36523e3-11ed-4011-9a41-1983019c0634" providerId="ADAL" clId="{E6A33FFF-2505-483E-9155-3932C1EC5308}" dt="2023-09-15T08:23:29.320" v="1050" actId="12385"/>
          <ac:graphicFrameMkLst>
            <pc:docMk/>
            <pc:sldMk cId="1348694183" sldId="272"/>
            <ac:graphicFrameMk id="6" creationId="{00000000-0000-0000-0000-000000000000}"/>
          </ac:graphicFrameMkLst>
        </pc:graphicFrameChg>
        <pc:picChg chg="del">
          <ac:chgData name="Michaelsen, Børje" userId="c36523e3-11ed-4011-9a41-1983019c0634" providerId="ADAL" clId="{E6A33FFF-2505-483E-9155-3932C1EC5308}" dt="2023-08-28T07:06:25.662" v="68" actId="478"/>
          <ac:picMkLst>
            <pc:docMk/>
            <pc:sldMk cId="1348694183" sldId="272"/>
            <ac:picMk id="3" creationId="{00000000-0000-0000-0000-000000000000}"/>
          </ac:picMkLst>
        </pc:picChg>
        <pc:picChg chg="add mod">
          <ac:chgData name="Michaelsen, Børje" userId="c36523e3-11ed-4011-9a41-1983019c0634" providerId="ADAL" clId="{E6A33FFF-2505-483E-9155-3932C1EC5308}" dt="2023-09-15T08:11:57.260" v="782" actId="962"/>
          <ac:picMkLst>
            <pc:docMk/>
            <pc:sldMk cId="1348694183" sldId="272"/>
            <ac:picMk id="4" creationId="{2F1426EA-EA5E-6D12-19E7-4BC62398CF34}"/>
          </ac:picMkLst>
        </pc:picChg>
      </pc:sldChg>
      <pc:sldChg chg="modSp mod">
        <pc:chgData name="Michaelsen, Børje" userId="c36523e3-11ed-4011-9a41-1983019c0634" providerId="ADAL" clId="{E6A33FFF-2505-483E-9155-3932C1EC5308}" dt="2023-09-22T09:23:58.468" v="1330" actId="962"/>
        <pc:sldMkLst>
          <pc:docMk/>
          <pc:sldMk cId="2044844844" sldId="273"/>
        </pc:sldMkLst>
        <pc:picChg chg="mod ord">
          <ac:chgData name="Michaelsen, Børje" userId="c36523e3-11ed-4011-9a41-1983019c0634" providerId="ADAL" clId="{E6A33FFF-2505-483E-9155-3932C1EC5308}" dt="2023-09-22T09:23:58.468" v="1330" actId="962"/>
          <ac:picMkLst>
            <pc:docMk/>
            <pc:sldMk cId="2044844844" sldId="273"/>
            <ac:picMk id="3" creationId="{00000000-0000-0000-0000-000000000000}"/>
          </ac:picMkLst>
        </pc:picChg>
      </pc:sldChg>
      <pc:sldChg chg="addSp modSp mod">
        <pc:chgData name="Michaelsen, Børje" userId="c36523e3-11ed-4011-9a41-1983019c0634" providerId="ADAL" clId="{E6A33FFF-2505-483E-9155-3932C1EC5308}" dt="2023-09-29T12:50:21.969" v="1696"/>
        <pc:sldMkLst>
          <pc:docMk/>
          <pc:sldMk cId="340623003" sldId="274"/>
        </pc:sldMkLst>
        <pc:spChg chg="add mod">
          <ac:chgData name="Michaelsen, Børje" userId="c36523e3-11ed-4011-9a41-1983019c0634" providerId="ADAL" clId="{E6A33FFF-2505-483E-9155-3932C1EC5308}" dt="2023-09-29T12:50:21.969" v="1696"/>
          <ac:spMkLst>
            <pc:docMk/>
            <pc:sldMk cId="340623003" sldId="274"/>
            <ac:spMk id="3" creationId="{068D2664-0B7A-2A5F-F508-CEB0A08FAA22}"/>
          </ac:spMkLst>
        </pc:spChg>
        <pc:graphicFrameChg chg="mod">
          <ac:chgData name="Michaelsen, Børje" userId="c36523e3-11ed-4011-9a41-1983019c0634" providerId="ADAL" clId="{E6A33FFF-2505-483E-9155-3932C1EC5308}" dt="2023-09-22T09:24:13.054" v="1368" actId="962"/>
          <ac:graphicFrameMkLst>
            <pc:docMk/>
            <pc:sldMk cId="340623003" sldId="274"/>
            <ac:graphicFrameMk id="7" creationId="{00000000-0008-0000-0100-000002000000}"/>
          </ac:graphicFrameMkLst>
        </pc:graphicFrameChg>
        <pc:picChg chg="mod ord">
          <ac:chgData name="Michaelsen, Børje" userId="c36523e3-11ed-4011-9a41-1983019c0634" providerId="ADAL" clId="{E6A33FFF-2505-483E-9155-3932C1EC5308}" dt="2023-09-15T08:24:47.730" v="1064"/>
          <ac:picMkLst>
            <pc:docMk/>
            <pc:sldMk cId="340623003" sldId="274"/>
            <ac:picMk id="5" creationId="{00000000-0000-0000-0000-000000000000}"/>
          </ac:picMkLst>
        </pc:picChg>
      </pc:sldChg>
      <pc:sldChg chg="addSp delSp modSp mod modNotesTx">
        <pc:chgData name="Michaelsen, Børje" userId="c36523e3-11ed-4011-9a41-1983019c0634" providerId="ADAL" clId="{E6A33FFF-2505-483E-9155-3932C1EC5308}" dt="2023-09-15T08:18:17.379" v="893" actId="962"/>
        <pc:sldMkLst>
          <pc:docMk/>
          <pc:sldMk cId="4110371661" sldId="275"/>
        </pc:sldMkLst>
        <pc:spChg chg="mod">
          <ac:chgData name="Michaelsen, Børje" userId="c36523e3-11ed-4011-9a41-1983019c0634" providerId="ADAL" clId="{E6A33FFF-2505-483E-9155-3932C1EC5308}" dt="2023-08-29T06:02:27.405" v="123" actId="14100"/>
          <ac:spMkLst>
            <pc:docMk/>
            <pc:sldMk cId="4110371661" sldId="275"/>
            <ac:spMk id="3" creationId="{00000000-0000-0000-0000-000000000000}"/>
          </ac:spMkLst>
        </pc:spChg>
        <pc:spChg chg="add mod">
          <ac:chgData name="Michaelsen, Børje" userId="c36523e3-11ed-4011-9a41-1983019c0634" providerId="ADAL" clId="{E6A33FFF-2505-483E-9155-3932C1EC5308}" dt="2023-08-29T06:10:25.269" v="233" actId="1035"/>
          <ac:spMkLst>
            <pc:docMk/>
            <pc:sldMk cId="4110371661" sldId="275"/>
            <ac:spMk id="4" creationId="{B581708A-CA63-3B9F-A11A-A69ABC0C2A63}"/>
          </ac:spMkLst>
        </pc:spChg>
        <pc:spChg chg="del mod">
          <ac:chgData name="Michaelsen, Børje" userId="c36523e3-11ed-4011-9a41-1983019c0634" providerId="ADAL" clId="{E6A33FFF-2505-483E-9155-3932C1EC5308}" dt="2023-08-29T06:10:03.305" v="154" actId="478"/>
          <ac:spMkLst>
            <pc:docMk/>
            <pc:sldMk cId="4110371661" sldId="275"/>
            <ac:spMk id="9" creationId="{00000000-0000-0000-0000-000000000000}"/>
          </ac:spMkLst>
        </pc:spChg>
        <pc:graphicFrameChg chg="add del mod">
          <ac:chgData name="Michaelsen, Børje" userId="c36523e3-11ed-4011-9a41-1983019c0634" providerId="ADAL" clId="{E6A33FFF-2505-483E-9155-3932C1EC5308}" dt="2023-08-29T06:03:09.465" v="149" actId="478"/>
          <ac:graphicFrameMkLst>
            <pc:docMk/>
            <pc:sldMk cId="4110371661" sldId="275"/>
            <ac:graphicFrameMk id="4" creationId="{A9AB4960-5BA5-6AF9-F3ED-65DFE4591263}"/>
          </ac:graphicFrameMkLst>
        </pc:graphicFrameChg>
        <pc:graphicFrameChg chg="add mod">
          <ac:chgData name="Michaelsen, Børje" userId="c36523e3-11ed-4011-9a41-1983019c0634" providerId="ADAL" clId="{E6A33FFF-2505-483E-9155-3932C1EC5308}" dt="2023-09-15T08:18:17.379" v="893" actId="962"/>
          <ac:graphicFrameMkLst>
            <pc:docMk/>
            <pc:sldMk cId="4110371661" sldId="275"/>
            <ac:graphicFrameMk id="5" creationId="{A9AB4960-5BA5-6AF9-F3ED-65DFE4591263}"/>
          </ac:graphicFrameMkLst>
        </pc:graphicFrameChg>
        <pc:graphicFrameChg chg="del">
          <ac:chgData name="Michaelsen, Børje" userId="c36523e3-11ed-4011-9a41-1983019c0634" providerId="ADAL" clId="{E6A33FFF-2505-483E-9155-3932C1EC5308}" dt="2023-08-29T06:02:03.661" v="116" actId="478"/>
          <ac:graphicFrameMkLst>
            <pc:docMk/>
            <pc:sldMk cId="4110371661" sldId="275"/>
            <ac:graphicFrameMk id="6" creationId="{00000000-0000-0000-0000-000000000000}"/>
          </ac:graphicFrameMkLst>
        </pc:graphicFrameChg>
      </pc:sldChg>
      <pc:sldChg chg="addSp delSp modSp mod">
        <pc:chgData name="Michaelsen, Børje" userId="c36523e3-11ed-4011-9a41-1983019c0634" providerId="ADAL" clId="{E6A33FFF-2505-483E-9155-3932C1EC5308}" dt="2023-09-15T08:27:54.537" v="1127"/>
        <pc:sldMkLst>
          <pc:docMk/>
          <pc:sldMk cId="768537486" sldId="276"/>
        </pc:sldMkLst>
        <pc:spChg chg="ord">
          <ac:chgData name="Michaelsen, Børje" userId="c36523e3-11ed-4011-9a41-1983019c0634" providerId="ADAL" clId="{E6A33FFF-2505-483E-9155-3932C1EC5308}" dt="2023-09-15T08:27:51.785" v="1126"/>
          <ac:spMkLst>
            <pc:docMk/>
            <pc:sldMk cId="768537486" sldId="276"/>
            <ac:spMk id="2" creationId="{00000000-0000-0000-0000-000000000000}"/>
          </ac:spMkLst>
        </pc:spChg>
        <pc:spChg chg="add mod">
          <ac:chgData name="Michaelsen, Børje" userId="c36523e3-11ed-4011-9a41-1983019c0634" providerId="ADAL" clId="{E6A33FFF-2505-483E-9155-3932C1EC5308}" dt="2023-08-28T08:55:51.285" v="104"/>
          <ac:spMkLst>
            <pc:docMk/>
            <pc:sldMk cId="768537486" sldId="276"/>
            <ac:spMk id="5" creationId="{1259BCDE-C1A8-3652-C344-859271CDD0C8}"/>
          </ac:spMkLst>
        </pc:spChg>
        <pc:spChg chg="del">
          <ac:chgData name="Michaelsen, Børje" userId="c36523e3-11ed-4011-9a41-1983019c0634" providerId="ADAL" clId="{E6A33FFF-2505-483E-9155-3932C1EC5308}" dt="2023-08-28T08:55:44.594" v="103" actId="478"/>
          <ac:spMkLst>
            <pc:docMk/>
            <pc:sldMk cId="768537486" sldId="276"/>
            <ac:spMk id="7" creationId="{00000000-0000-0000-0000-000000000000}"/>
          </ac:spMkLst>
        </pc:spChg>
        <pc:spChg chg="mod ord">
          <ac:chgData name="Michaelsen, Børje" userId="c36523e3-11ed-4011-9a41-1983019c0634" providerId="ADAL" clId="{E6A33FFF-2505-483E-9155-3932C1EC5308}" dt="2023-09-15T08:27:54.537" v="1127"/>
          <ac:spMkLst>
            <pc:docMk/>
            <pc:sldMk cId="768537486" sldId="276"/>
            <ac:spMk id="9" creationId="{00000000-0000-0000-0000-000000000000}"/>
          </ac:spMkLst>
        </pc:spChg>
        <pc:graphicFrameChg chg="mod modGraphic">
          <ac:chgData name="Michaelsen, Børje" userId="c36523e3-11ed-4011-9a41-1983019c0634" providerId="ADAL" clId="{E6A33FFF-2505-483E-9155-3932C1EC5308}" dt="2023-09-15T08:23:48.512" v="1053" actId="12385"/>
          <ac:graphicFrameMkLst>
            <pc:docMk/>
            <pc:sldMk cId="768537486" sldId="276"/>
            <ac:graphicFrameMk id="8" creationId="{00000000-0000-0000-0000-000000000000}"/>
          </ac:graphicFrameMkLst>
        </pc:graphicFrameChg>
        <pc:picChg chg="add mod">
          <ac:chgData name="Michaelsen, Børje" userId="c36523e3-11ed-4011-9a41-1983019c0634" providerId="ADAL" clId="{E6A33FFF-2505-483E-9155-3932C1EC5308}" dt="2023-09-15T08:17:59.763" v="891" actId="962"/>
          <ac:picMkLst>
            <pc:docMk/>
            <pc:sldMk cId="768537486" sldId="276"/>
            <ac:picMk id="3" creationId="{B8E6DEDC-974D-81F9-72CC-E0F68FEFD9A5}"/>
          </ac:picMkLst>
        </pc:picChg>
        <pc:picChg chg="del">
          <ac:chgData name="Michaelsen, Børje" userId="c36523e3-11ed-4011-9a41-1983019c0634" providerId="ADAL" clId="{E6A33FFF-2505-483E-9155-3932C1EC5308}" dt="2023-08-28T08:55:23.616" v="99" actId="478"/>
          <ac:picMkLst>
            <pc:docMk/>
            <pc:sldMk cId="768537486" sldId="276"/>
            <ac:picMk id="4" creationId="{00000000-0000-0000-0000-000000000000}"/>
          </ac:picMkLst>
        </pc:picChg>
      </pc:sldChg>
      <pc:sldChg chg="addSp delSp modSp mod">
        <pc:chgData name="Michaelsen, Børje" userId="c36523e3-11ed-4011-9a41-1983019c0634" providerId="ADAL" clId="{E6A33FFF-2505-483E-9155-3932C1EC5308}" dt="2023-09-15T08:28:17.889" v="1130"/>
        <pc:sldMkLst>
          <pc:docMk/>
          <pc:sldMk cId="2721633966" sldId="277"/>
        </pc:sldMkLst>
        <pc:spChg chg="mod">
          <ac:chgData name="Michaelsen, Børje" userId="c36523e3-11ed-4011-9a41-1983019c0634" providerId="ADAL" clId="{E6A33FFF-2505-483E-9155-3932C1EC5308}" dt="2023-09-15T08:28:10.320" v="1129" actId="1076"/>
          <ac:spMkLst>
            <pc:docMk/>
            <pc:sldMk cId="2721633966" sldId="277"/>
            <ac:spMk id="2" creationId="{00000000-0000-0000-0000-000000000000}"/>
          </ac:spMkLst>
        </pc:spChg>
        <pc:spChg chg="add mod">
          <ac:chgData name="Michaelsen, Børje" userId="c36523e3-11ed-4011-9a41-1983019c0634" providerId="ADAL" clId="{E6A33FFF-2505-483E-9155-3932C1EC5308}" dt="2023-09-01T12:40:47.341" v="421"/>
          <ac:spMkLst>
            <pc:docMk/>
            <pc:sldMk cId="2721633966" sldId="277"/>
            <ac:spMk id="4" creationId="{AE078CED-F5E9-7D89-CAC1-210A292ABEFC}"/>
          </ac:spMkLst>
        </pc:spChg>
        <pc:spChg chg="del">
          <ac:chgData name="Michaelsen, Børje" userId="c36523e3-11ed-4011-9a41-1983019c0634" providerId="ADAL" clId="{E6A33FFF-2505-483E-9155-3932C1EC5308}" dt="2023-09-01T12:40:45.600" v="420" actId="478"/>
          <ac:spMkLst>
            <pc:docMk/>
            <pc:sldMk cId="2721633966" sldId="277"/>
            <ac:spMk id="9" creationId="{00000000-0000-0000-0000-000000000000}"/>
          </ac:spMkLst>
        </pc:spChg>
        <pc:graphicFrameChg chg="add mod">
          <ac:chgData name="Michaelsen, Børje" userId="c36523e3-11ed-4011-9a41-1983019c0634" providerId="ADAL" clId="{E6A33FFF-2505-483E-9155-3932C1EC5308}" dt="2023-09-15T08:28:17.889" v="1130"/>
          <ac:graphicFrameMkLst>
            <pc:docMk/>
            <pc:sldMk cId="2721633966" sldId="277"/>
            <ac:graphicFrameMk id="5" creationId="{1E871170-F82D-1EDA-BE6F-558892AFB706}"/>
          </ac:graphicFrameMkLst>
        </pc:graphicFrameChg>
        <pc:graphicFrameChg chg="del">
          <ac:chgData name="Michaelsen, Børje" userId="c36523e3-11ed-4011-9a41-1983019c0634" providerId="ADAL" clId="{E6A33FFF-2505-483E-9155-3932C1EC5308}" dt="2023-09-01T12:45:39.275" v="422" actId="478"/>
          <ac:graphicFrameMkLst>
            <pc:docMk/>
            <pc:sldMk cId="2721633966" sldId="277"/>
            <ac:graphicFrameMk id="6" creationId="{00000000-0000-0000-0000-000000000000}"/>
          </ac:graphicFrameMkLst>
        </pc:graphicFrameChg>
      </pc:sldChg>
      <pc:sldChg chg="del">
        <pc:chgData name="Michaelsen, Børje" userId="c36523e3-11ed-4011-9a41-1983019c0634" providerId="ADAL" clId="{E6A33FFF-2505-483E-9155-3932C1EC5308}" dt="2023-08-29T13:36:16.295" v="249" actId="47"/>
        <pc:sldMkLst>
          <pc:docMk/>
          <pc:sldMk cId="1321071006" sldId="278"/>
        </pc:sldMkLst>
      </pc:sldChg>
      <pc:sldChg chg="addSp delSp modSp mod">
        <pc:chgData name="Michaelsen, Børje" userId="c36523e3-11ed-4011-9a41-1983019c0634" providerId="ADAL" clId="{E6A33FFF-2505-483E-9155-3932C1EC5308}" dt="2023-09-29T12:50:53.577" v="1698"/>
        <pc:sldMkLst>
          <pc:docMk/>
          <pc:sldMk cId="662108869" sldId="279"/>
        </pc:sldMkLst>
        <pc:spChg chg="mod">
          <ac:chgData name="Michaelsen, Børje" userId="c36523e3-11ed-4011-9a41-1983019c0634" providerId="ADAL" clId="{E6A33FFF-2505-483E-9155-3932C1EC5308}" dt="2023-09-13T09:39:00.273" v="688" actId="20577"/>
          <ac:spMkLst>
            <pc:docMk/>
            <pc:sldMk cId="662108869" sldId="279"/>
            <ac:spMk id="2" creationId="{00000000-0000-0000-0000-000000000000}"/>
          </ac:spMkLst>
        </pc:spChg>
        <pc:spChg chg="add mod">
          <ac:chgData name="Michaelsen, Børje" userId="c36523e3-11ed-4011-9a41-1983019c0634" providerId="ADAL" clId="{E6A33FFF-2505-483E-9155-3932C1EC5308}" dt="2023-09-29T12:50:53.577" v="1698"/>
          <ac:spMkLst>
            <pc:docMk/>
            <pc:sldMk cId="662108869" sldId="279"/>
            <ac:spMk id="5" creationId="{9D656F81-52DD-2020-66A0-505318DBCB67}"/>
          </ac:spMkLst>
        </pc:spChg>
        <pc:spChg chg="mod">
          <ac:chgData name="Michaelsen, Børje" userId="c36523e3-11ed-4011-9a41-1983019c0634" providerId="ADAL" clId="{E6A33FFF-2505-483E-9155-3932C1EC5308}" dt="2023-09-26T12:02:05.247" v="1695" actId="207"/>
          <ac:spMkLst>
            <pc:docMk/>
            <pc:sldMk cId="662108869" sldId="279"/>
            <ac:spMk id="10" creationId="{00000000-0000-0000-0000-000000000000}"/>
          </ac:spMkLst>
        </pc:spChg>
        <pc:graphicFrameChg chg="add mod ord">
          <ac:chgData name="Michaelsen, Børje" userId="c36523e3-11ed-4011-9a41-1983019c0634" providerId="ADAL" clId="{E6A33FFF-2505-483E-9155-3932C1EC5308}" dt="2023-09-15T08:26:48.450" v="1117"/>
          <ac:graphicFrameMkLst>
            <pc:docMk/>
            <pc:sldMk cId="662108869" sldId="279"/>
            <ac:graphicFrameMk id="3" creationId="{CAA1CB3D-938F-067F-8DA9-50299143B277}"/>
          </ac:graphicFrameMkLst>
        </pc:graphicFrameChg>
        <pc:graphicFrameChg chg="add mod">
          <ac:chgData name="Michaelsen, Børje" userId="c36523e3-11ed-4011-9a41-1983019c0634" providerId="ADAL" clId="{E6A33FFF-2505-483E-9155-3932C1EC5308}" dt="2023-09-15T08:26:54.081" v="1118"/>
          <ac:graphicFrameMkLst>
            <pc:docMk/>
            <pc:sldMk cId="662108869" sldId="279"/>
            <ac:graphicFrameMk id="4" creationId="{24E4A504-A222-3225-2904-7772932E33DE}"/>
          </ac:graphicFrameMkLst>
        </pc:graphicFrameChg>
        <pc:graphicFrameChg chg="del">
          <ac:chgData name="Michaelsen, Børje" userId="c36523e3-11ed-4011-9a41-1983019c0634" providerId="ADAL" clId="{E6A33FFF-2505-483E-9155-3932C1EC5308}" dt="2023-09-13T09:38:29.164" v="655" actId="478"/>
          <ac:graphicFrameMkLst>
            <pc:docMk/>
            <pc:sldMk cId="662108869" sldId="279"/>
            <ac:graphicFrameMk id="6" creationId="{00000000-0008-0000-0600-000005000000}"/>
          </ac:graphicFrameMkLst>
        </pc:graphicFrameChg>
        <pc:graphicFrameChg chg="del">
          <ac:chgData name="Michaelsen, Børje" userId="c36523e3-11ed-4011-9a41-1983019c0634" providerId="ADAL" clId="{E6A33FFF-2505-483E-9155-3932C1EC5308}" dt="2023-09-13T09:41:17.559" v="690" actId="478"/>
          <ac:graphicFrameMkLst>
            <pc:docMk/>
            <pc:sldMk cId="662108869" sldId="279"/>
            <ac:graphicFrameMk id="8" creationId="{00000000-0008-0000-0300-000002000000}"/>
          </ac:graphicFrameMkLst>
        </pc:graphicFrameChg>
      </pc:sldChg>
      <pc:sldChg chg="addSp delSp modSp mod">
        <pc:chgData name="Michaelsen, Børje" userId="c36523e3-11ed-4011-9a41-1983019c0634" providerId="ADAL" clId="{E6A33FFF-2505-483E-9155-3932C1EC5308}" dt="2023-09-15T08:16:17.128" v="881" actId="962"/>
        <pc:sldMkLst>
          <pc:docMk/>
          <pc:sldMk cId="835482435" sldId="282"/>
        </pc:sldMkLst>
        <pc:spChg chg="mod">
          <ac:chgData name="Michaelsen, Børje" userId="c36523e3-11ed-4011-9a41-1983019c0634" providerId="ADAL" clId="{E6A33FFF-2505-483E-9155-3932C1EC5308}" dt="2023-09-07T12:01:49.878" v="513" actId="14100"/>
          <ac:spMkLst>
            <pc:docMk/>
            <pc:sldMk cId="835482435" sldId="282"/>
            <ac:spMk id="3" creationId="{00000000-0000-0000-0000-000000000000}"/>
          </ac:spMkLst>
        </pc:spChg>
        <pc:spChg chg="add mod">
          <ac:chgData name="Michaelsen, Børje" userId="c36523e3-11ed-4011-9a41-1983019c0634" providerId="ADAL" clId="{E6A33FFF-2505-483E-9155-3932C1EC5308}" dt="2023-09-07T12:01:59.579" v="529" actId="1036"/>
          <ac:spMkLst>
            <pc:docMk/>
            <pc:sldMk cId="835482435" sldId="282"/>
            <ac:spMk id="6" creationId="{119660C1-6720-75C5-313A-BBB93FB78FE2}"/>
          </ac:spMkLst>
        </pc:spChg>
        <pc:graphicFrameChg chg="add mod">
          <ac:chgData name="Michaelsen, Børje" userId="c36523e3-11ed-4011-9a41-1983019c0634" providerId="ADAL" clId="{E6A33FFF-2505-483E-9155-3932C1EC5308}" dt="2023-09-15T08:16:17.128" v="881" actId="962"/>
          <ac:graphicFrameMkLst>
            <pc:docMk/>
            <pc:sldMk cId="835482435" sldId="282"/>
            <ac:graphicFrameMk id="4" creationId="{78039546-200C-51F9-A3B8-CF9627E87368}"/>
          </ac:graphicFrameMkLst>
        </pc:graphicFrameChg>
        <pc:graphicFrameChg chg="del">
          <ac:chgData name="Michaelsen, Børje" userId="c36523e3-11ed-4011-9a41-1983019c0634" providerId="ADAL" clId="{E6A33FFF-2505-483E-9155-3932C1EC5308}" dt="2023-09-07T12:00:41.895" v="427" actId="478"/>
          <ac:graphicFrameMkLst>
            <pc:docMk/>
            <pc:sldMk cId="835482435" sldId="282"/>
            <ac:graphicFrameMk id="5" creationId="{00000000-0000-0000-0000-000000000000}"/>
          </ac:graphicFrameMkLst>
        </pc:graphicFrameChg>
      </pc:sldChg>
      <pc:sldChg chg="addSp delSp modSp mod modNotesTx">
        <pc:chgData name="Michaelsen, Børje" userId="c36523e3-11ed-4011-9a41-1983019c0634" providerId="ADAL" clId="{E6A33FFF-2505-483E-9155-3932C1EC5308}" dt="2023-09-29T12:50:40.186" v="1697"/>
        <pc:sldMkLst>
          <pc:docMk/>
          <pc:sldMk cId="1751997248" sldId="284"/>
        </pc:sldMkLst>
        <pc:spChg chg="ord">
          <ac:chgData name="Michaelsen, Børje" userId="c36523e3-11ed-4011-9a41-1983019c0634" providerId="ADAL" clId="{E6A33FFF-2505-483E-9155-3932C1EC5308}" dt="2023-09-15T08:26:11.706" v="1088"/>
          <ac:spMkLst>
            <pc:docMk/>
            <pc:sldMk cId="1751997248" sldId="284"/>
            <ac:spMk id="2" creationId="{00000000-0000-0000-0000-000000000000}"/>
          </ac:spMkLst>
        </pc:spChg>
        <pc:spChg chg="mod ord">
          <ac:chgData name="Michaelsen, Børje" userId="c36523e3-11ed-4011-9a41-1983019c0634" providerId="ADAL" clId="{E6A33FFF-2505-483E-9155-3932C1EC5308}" dt="2023-09-15T08:26:14.089" v="1089"/>
          <ac:spMkLst>
            <pc:docMk/>
            <pc:sldMk cId="1751997248" sldId="284"/>
            <ac:spMk id="3" creationId="{00000000-0000-0000-0000-000000000000}"/>
          </ac:spMkLst>
        </pc:spChg>
        <pc:spChg chg="add mod">
          <ac:chgData name="Michaelsen, Børje" userId="c36523e3-11ed-4011-9a41-1983019c0634" providerId="ADAL" clId="{E6A33FFF-2505-483E-9155-3932C1EC5308}" dt="2023-09-29T12:50:40.186" v="1697"/>
          <ac:spMkLst>
            <pc:docMk/>
            <pc:sldMk cId="1751997248" sldId="284"/>
            <ac:spMk id="6" creationId="{2B848CFA-6AE5-2E6E-CF21-DC7FB621BE06}"/>
          </ac:spMkLst>
        </pc:spChg>
        <pc:spChg chg="mod ord">
          <ac:chgData name="Michaelsen, Børje" userId="c36523e3-11ed-4011-9a41-1983019c0634" providerId="ADAL" clId="{E6A33FFF-2505-483E-9155-3932C1EC5308}" dt="2023-09-15T08:26:26.584" v="1115"/>
          <ac:spMkLst>
            <pc:docMk/>
            <pc:sldMk cId="1751997248" sldId="284"/>
            <ac:spMk id="29" creationId="{00000000-0000-0000-0000-000000000000}"/>
          </ac:spMkLst>
        </pc:spChg>
        <pc:grpChg chg="mod">
          <ac:chgData name="Michaelsen, Børje" userId="c36523e3-11ed-4011-9a41-1983019c0634" providerId="ADAL" clId="{E6A33FFF-2505-483E-9155-3932C1EC5308}" dt="2023-09-15T08:14:03.868" v="785" actId="962"/>
          <ac:grpSpMkLst>
            <pc:docMk/>
            <pc:sldMk cId="1751997248" sldId="284"/>
            <ac:grpSpMk id="31" creationId="{00000000-0000-0000-0000-000000000000}"/>
          </ac:grpSpMkLst>
        </pc:grpChg>
        <pc:picChg chg="add mod ord">
          <ac:chgData name="Michaelsen, Børje" userId="c36523e3-11ed-4011-9a41-1983019c0634" providerId="ADAL" clId="{E6A33FFF-2505-483E-9155-3932C1EC5308}" dt="2023-09-15T08:26:19.832" v="1102"/>
          <ac:picMkLst>
            <pc:docMk/>
            <pc:sldMk cId="1751997248" sldId="284"/>
            <ac:picMk id="40" creationId="{C94BB9D9-353B-93F7-B7F8-D9C88EDEDD68}"/>
          </ac:picMkLst>
        </pc:picChg>
        <pc:picChg chg="del">
          <ac:chgData name="Michaelsen, Børje" userId="c36523e3-11ed-4011-9a41-1983019c0634" providerId="ADAL" clId="{E6A33FFF-2505-483E-9155-3932C1EC5308}" dt="2023-09-01T08:17:07.266" v="397" actId="478"/>
          <ac:picMkLst>
            <pc:docMk/>
            <pc:sldMk cId="1751997248" sldId="284"/>
            <ac:picMk id="2049" creationId="{00000000-0000-0000-0000-000000000000}"/>
          </ac:picMkLst>
        </pc:picChg>
        <pc:picChg chg="mod">
          <ac:chgData name="Michaelsen, Børje" userId="c36523e3-11ed-4011-9a41-1983019c0634" providerId="ADAL" clId="{E6A33FFF-2505-483E-9155-3932C1EC5308}" dt="2023-09-15T08:12:11.571" v="784" actId="962"/>
          <ac:picMkLst>
            <pc:docMk/>
            <pc:sldMk cId="1751997248" sldId="284"/>
            <ac:picMk id="2050" creationId="{00000000-0000-0000-0000-000000000000}"/>
          </ac:picMkLst>
        </pc:picChg>
      </pc:sldChg>
      <pc:sldChg chg="modSp del mod">
        <pc:chgData name="Michaelsen, Børje" userId="c36523e3-11ed-4011-9a41-1983019c0634" providerId="ADAL" clId="{E6A33FFF-2505-483E-9155-3932C1EC5308}" dt="2023-10-10T08:40:24.911" v="1706" actId="47"/>
        <pc:sldMkLst>
          <pc:docMk/>
          <pc:sldMk cId="1610994730" sldId="285"/>
        </pc:sldMkLst>
        <pc:spChg chg="ord">
          <ac:chgData name="Michaelsen, Børje" userId="c36523e3-11ed-4011-9a41-1983019c0634" providerId="ADAL" clId="{E6A33FFF-2505-483E-9155-3932C1EC5308}" dt="2023-09-15T08:29:56.161" v="1157"/>
          <ac:spMkLst>
            <pc:docMk/>
            <pc:sldMk cId="1610994730" sldId="285"/>
            <ac:spMk id="7" creationId="{00000000-0000-0000-0000-000000000000}"/>
          </ac:spMkLst>
        </pc:spChg>
        <pc:graphicFrameChg chg="mod">
          <ac:chgData name="Michaelsen, Børje" userId="c36523e3-11ed-4011-9a41-1983019c0634" providerId="ADAL" clId="{E6A33FFF-2505-483E-9155-3932C1EC5308}" dt="2023-09-15T08:29:52.624" v="1156"/>
          <ac:graphicFrameMkLst>
            <pc:docMk/>
            <pc:sldMk cId="1610994730" sldId="285"/>
            <ac:graphicFrameMk id="14" creationId="{00000000-0008-0000-0200-000002000000}"/>
          </ac:graphicFrameMkLst>
        </pc:graphicFrameChg>
        <pc:picChg chg="mod ord">
          <ac:chgData name="Michaelsen, Børje" userId="c36523e3-11ed-4011-9a41-1983019c0634" providerId="ADAL" clId="{E6A33FFF-2505-483E-9155-3932C1EC5308}" dt="2023-09-15T08:30:03.057" v="1160"/>
          <ac:picMkLst>
            <pc:docMk/>
            <pc:sldMk cId="1610994730" sldId="285"/>
            <ac:picMk id="4" creationId="{00000000-0000-0000-0000-000000000000}"/>
          </ac:picMkLst>
        </pc:picChg>
        <pc:picChg chg="mod ord">
          <ac:chgData name="Michaelsen, Børje" userId="c36523e3-11ed-4011-9a41-1983019c0634" providerId="ADAL" clId="{E6A33FFF-2505-483E-9155-3932C1EC5308}" dt="2023-09-15T08:29:59.536" v="1159"/>
          <ac:picMkLst>
            <pc:docMk/>
            <pc:sldMk cId="1610994730" sldId="285"/>
            <ac:picMk id="12" creationId="{00000000-0000-0000-0000-000000000000}"/>
          </ac:picMkLst>
        </pc:picChg>
      </pc:sldChg>
      <pc:sldChg chg="addSp delSp modSp mod">
        <pc:chgData name="Michaelsen, Børje" userId="c36523e3-11ed-4011-9a41-1983019c0634" providerId="ADAL" clId="{E6A33FFF-2505-483E-9155-3932C1EC5308}" dt="2023-09-22T06:45:36.398" v="1328"/>
        <pc:sldMkLst>
          <pc:docMk/>
          <pc:sldMk cId="2154520298" sldId="287"/>
        </pc:sldMkLst>
        <pc:spChg chg="mod">
          <ac:chgData name="Michaelsen, Børje" userId="c36523e3-11ed-4011-9a41-1983019c0634" providerId="ADAL" clId="{E6A33FFF-2505-483E-9155-3932C1EC5308}" dt="2023-09-22T06:44:33.019" v="1326" actId="14100"/>
          <ac:spMkLst>
            <pc:docMk/>
            <pc:sldMk cId="2154520298" sldId="287"/>
            <ac:spMk id="10" creationId="{00000000-0000-0000-0000-000000000000}"/>
          </ac:spMkLst>
        </pc:spChg>
        <pc:picChg chg="del">
          <ac:chgData name="Michaelsen, Børje" userId="c36523e3-11ed-4011-9a41-1983019c0634" providerId="ADAL" clId="{E6A33FFF-2505-483E-9155-3932C1EC5308}" dt="2023-09-22T06:41:58.200" v="1246" actId="478"/>
          <ac:picMkLst>
            <pc:docMk/>
            <pc:sldMk cId="2154520298" sldId="287"/>
            <ac:picMk id="4" creationId="{0BAFA7FA-889B-C04A-0AC7-74432ADF39FB}"/>
          </ac:picMkLst>
        </pc:picChg>
        <pc:picChg chg="add del mod">
          <ac:chgData name="Michaelsen, Børje" userId="c36523e3-11ed-4011-9a41-1983019c0634" providerId="ADAL" clId="{E6A33FFF-2505-483E-9155-3932C1EC5308}" dt="2023-09-22T06:42:18.063" v="1249" actId="478"/>
          <ac:picMkLst>
            <pc:docMk/>
            <pc:sldMk cId="2154520298" sldId="287"/>
            <ac:picMk id="5" creationId="{52AE706B-81C2-A9F8-430C-1CA663DB40CA}"/>
          </ac:picMkLst>
        </pc:picChg>
        <pc:picChg chg="add mod ord">
          <ac:chgData name="Michaelsen, Børje" userId="c36523e3-11ed-4011-9a41-1983019c0634" providerId="ADAL" clId="{E6A33FFF-2505-483E-9155-3932C1EC5308}" dt="2023-09-22T06:45:36.398" v="1328"/>
          <ac:picMkLst>
            <pc:docMk/>
            <pc:sldMk cId="2154520298" sldId="287"/>
            <ac:picMk id="7" creationId="{D4B57540-F80C-A695-5212-E43CBD00800E}"/>
          </ac:picMkLst>
        </pc:picChg>
      </pc:sldChg>
      <pc:sldChg chg="addSp delSp modSp mod">
        <pc:chgData name="Michaelsen, Børje" userId="c36523e3-11ed-4011-9a41-1983019c0634" providerId="ADAL" clId="{E6A33FFF-2505-483E-9155-3932C1EC5308}" dt="2023-09-15T08:25:50.080" v="1087"/>
        <pc:sldMkLst>
          <pc:docMk/>
          <pc:sldMk cId="2938880870" sldId="288"/>
        </pc:sldMkLst>
        <pc:spChg chg="mod">
          <ac:chgData name="Michaelsen, Børje" userId="c36523e3-11ed-4011-9a41-1983019c0634" providerId="ADAL" clId="{E6A33FFF-2505-483E-9155-3932C1EC5308}" dt="2023-09-15T08:25:13.824" v="1068" actId="14100"/>
          <ac:spMkLst>
            <pc:docMk/>
            <pc:sldMk cId="2938880870" sldId="288"/>
            <ac:spMk id="2" creationId="{00000000-0000-0000-0000-000000000000}"/>
          </ac:spMkLst>
        </pc:spChg>
        <pc:spChg chg="add mod">
          <ac:chgData name="Michaelsen, Børje" userId="c36523e3-11ed-4011-9a41-1983019c0634" providerId="ADAL" clId="{E6A33FFF-2505-483E-9155-3932C1EC5308}" dt="2023-09-08T10:33:15.872" v="570" actId="1038"/>
          <ac:spMkLst>
            <pc:docMk/>
            <pc:sldMk cId="2938880870" sldId="288"/>
            <ac:spMk id="5" creationId="{72C38B41-131A-AFC1-9683-784948204578}"/>
          </ac:spMkLst>
        </pc:spChg>
        <pc:spChg chg="add mod ord">
          <ac:chgData name="Michaelsen, Børje" userId="c36523e3-11ed-4011-9a41-1983019c0634" providerId="ADAL" clId="{E6A33FFF-2505-483E-9155-3932C1EC5308}" dt="2023-09-15T08:25:50.080" v="1087"/>
          <ac:spMkLst>
            <pc:docMk/>
            <pc:sldMk cId="2938880870" sldId="288"/>
            <ac:spMk id="6" creationId="{CE5207F9-4FA9-E328-167B-6EB1EF6311FA}"/>
          </ac:spMkLst>
        </pc:spChg>
        <pc:spChg chg="mod">
          <ac:chgData name="Michaelsen, Børje" userId="c36523e3-11ed-4011-9a41-1983019c0634" providerId="ADAL" clId="{E6A33FFF-2505-483E-9155-3932C1EC5308}" dt="2023-09-08T10:31:45.705" v="540" actId="20577"/>
          <ac:spMkLst>
            <pc:docMk/>
            <pc:sldMk cId="2938880870" sldId="288"/>
            <ac:spMk id="7" creationId="{00000000-0000-0000-0000-000000000000}"/>
          </ac:spMkLst>
        </pc:spChg>
        <pc:spChg chg="mod">
          <ac:chgData name="Michaelsen, Børje" userId="c36523e3-11ed-4011-9a41-1983019c0634" providerId="ADAL" clId="{E6A33FFF-2505-483E-9155-3932C1EC5308}" dt="2023-09-08T10:32:24.794" v="542" actId="20577"/>
          <ac:spMkLst>
            <pc:docMk/>
            <pc:sldMk cId="2938880870" sldId="288"/>
            <ac:spMk id="18" creationId="{00000000-0000-0000-0000-000000000000}"/>
          </ac:spMkLst>
        </pc:spChg>
        <pc:graphicFrameChg chg="add mod">
          <ac:chgData name="Michaelsen, Børje" userId="c36523e3-11ed-4011-9a41-1983019c0634" providerId="ADAL" clId="{E6A33FFF-2505-483E-9155-3932C1EC5308}" dt="2023-09-15T08:25:46.464" v="1084"/>
          <ac:graphicFrameMkLst>
            <pc:docMk/>
            <pc:sldMk cId="2938880870" sldId="288"/>
            <ac:graphicFrameMk id="3" creationId="{00000000-0008-0000-0100-000002000000}"/>
          </ac:graphicFrameMkLst>
        </pc:graphicFrameChg>
        <pc:graphicFrameChg chg="add mod">
          <ac:chgData name="Michaelsen, Børje" userId="c36523e3-11ed-4011-9a41-1983019c0634" providerId="ADAL" clId="{E6A33FFF-2505-483E-9155-3932C1EC5308}" dt="2023-09-15T08:11:12.787" v="776" actId="962"/>
          <ac:graphicFrameMkLst>
            <pc:docMk/>
            <pc:sldMk cId="2938880870" sldId="288"/>
            <ac:graphicFrameMk id="4" creationId="{00000000-0008-0000-0300-000003000000}"/>
          </ac:graphicFrameMkLst>
        </pc:graphicFrameChg>
        <pc:graphicFrameChg chg="del">
          <ac:chgData name="Michaelsen, Børje" userId="c36523e3-11ed-4011-9a41-1983019c0634" providerId="ADAL" clId="{E6A33FFF-2505-483E-9155-3932C1EC5308}" dt="2023-09-08T10:31:11.469" v="531" actId="478"/>
          <ac:graphicFrameMkLst>
            <pc:docMk/>
            <pc:sldMk cId="2938880870" sldId="288"/>
            <ac:graphicFrameMk id="9" creationId="{00000000-0000-0000-0000-000000000000}"/>
          </ac:graphicFrameMkLst>
        </pc:graphicFrameChg>
        <pc:graphicFrameChg chg="del">
          <ac:chgData name="Michaelsen, Børje" userId="c36523e3-11ed-4011-9a41-1983019c0634" providerId="ADAL" clId="{E6A33FFF-2505-483E-9155-3932C1EC5308}" dt="2023-09-08T10:32:40.612" v="543" actId="478"/>
          <ac:graphicFrameMkLst>
            <pc:docMk/>
            <pc:sldMk cId="2938880870" sldId="288"/>
            <ac:graphicFrameMk id="11" creationId="{00000000-0000-0000-0000-000000000000}"/>
          </ac:graphicFrameMkLst>
        </pc:graphicFrameChg>
      </pc:sldChg>
      <pc:sldChg chg="addSp delSp modSp mod">
        <pc:chgData name="Michaelsen, Børje" userId="c36523e3-11ed-4011-9a41-1983019c0634" providerId="ADAL" clId="{E6A33FFF-2505-483E-9155-3932C1EC5308}" dt="2023-09-29T12:51:09.853" v="1699"/>
        <pc:sldMkLst>
          <pc:docMk/>
          <pc:sldMk cId="990372706" sldId="289"/>
        </pc:sldMkLst>
        <pc:spChg chg="add mod">
          <ac:chgData name="Michaelsen, Børje" userId="c36523e3-11ed-4011-9a41-1983019c0634" providerId="ADAL" clId="{E6A33FFF-2505-483E-9155-3932C1EC5308}" dt="2023-09-29T12:51:09.853" v="1699"/>
          <ac:spMkLst>
            <pc:docMk/>
            <pc:sldMk cId="990372706" sldId="289"/>
            <ac:spMk id="7" creationId="{1A564FF0-F000-0644-C9E7-71F241E7A07C}"/>
          </ac:spMkLst>
        </pc:spChg>
        <pc:graphicFrameChg chg="add mod">
          <ac:chgData name="Michaelsen, Børje" userId="c36523e3-11ed-4011-9a41-1983019c0634" providerId="ADAL" clId="{E6A33FFF-2505-483E-9155-3932C1EC5308}" dt="2023-09-15T08:18:59.006" v="923" actId="962"/>
          <ac:graphicFrameMkLst>
            <pc:docMk/>
            <pc:sldMk cId="990372706" sldId="289"/>
            <ac:graphicFrameMk id="4" creationId="{00000000-0008-0000-0000-000002000000}"/>
          </ac:graphicFrameMkLst>
        </pc:graphicFrameChg>
        <pc:graphicFrameChg chg="add mod">
          <ac:chgData name="Michaelsen, Børje" userId="c36523e3-11ed-4011-9a41-1983019c0634" providerId="ADAL" clId="{E6A33FFF-2505-483E-9155-3932C1EC5308}" dt="2023-09-15T08:19:13.252" v="925" actId="962"/>
          <ac:graphicFrameMkLst>
            <pc:docMk/>
            <pc:sldMk cId="990372706" sldId="289"/>
            <ac:graphicFrameMk id="5" creationId="{00000000-0008-0000-0200-000002000000}"/>
          </ac:graphicFrameMkLst>
        </pc:graphicFrameChg>
        <pc:graphicFrameChg chg="add mod">
          <ac:chgData name="Michaelsen, Børje" userId="c36523e3-11ed-4011-9a41-1983019c0634" providerId="ADAL" clId="{E6A33FFF-2505-483E-9155-3932C1EC5308}" dt="2023-09-15T08:28:30.811" v="1132"/>
          <ac:graphicFrameMkLst>
            <pc:docMk/>
            <pc:sldMk cId="990372706" sldId="289"/>
            <ac:graphicFrameMk id="6" creationId="{00000000-0008-0000-0000-000002000000}"/>
          </ac:graphicFrameMkLst>
        </pc:graphicFrameChg>
        <pc:graphicFrameChg chg="del">
          <ac:chgData name="Michaelsen, Børje" userId="c36523e3-11ed-4011-9a41-1983019c0634" providerId="ADAL" clId="{E6A33FFF-2505-483E-9155-3932C1EC5308}" dt="2023-09-11T10:59:50.786" v="592" actId="478"/>
          <ac:graphicFrameMkLst>
            <pc:docMk/>
            <pc:sldMk cId="990372706" sldId="289"/>
            <ac:graphicFrameMk id="7" creationId="{00000000-0000-0000-0000-000000000000}"/>
          </ac:graphicFrameMkLst>
        </pc:graphicFrameChg>
        <pc:graphicFrameChg chg="del">
          <ac:chgData name="Michaelsen, Børje" userId="c36523e3-11ed-4011-9a41-1983019c0634" providerId="ADAL" clId="{E6A33FFF-2505-483E-9155-3932C1EC5308}" dt="2023-09-11T10:39:41.844" v="571" actId="478"/>
          <ac:graphicFrameMkLst>
            <pc:docMk/>
            <pc:sldMk cId="990372706" sldId="289"/>
            <ac:graphicFrameMk id="11" creationId="{00000000-0000-0000-0000-000000000000}"/>
          </ac:graphicFrameMkLst>
        </pc:graphicFrameChg>
        <pc:graphicFrameChg chg="del">
          <ac:chgData name="Michaelsen, Børje" userId="c36523e3-11ed-4011-9a41-1983019c0634" providerId="ADAL" clId="{E6A33FFF-2505-483E-9155-3932C1EC5308}" dt="2023-09-11T10:40:26.940" v="587" actId="478"/>
          <ac:graphicFrameMkLst>
            <pc:docMk/>
            <pc:sldMk cId="990372706" sldId="289"/>
            <ac:graphicFrameMk id="12" creationId="{00000000-0000-0000-0000-000000000000}"/>
          </ac:graphicFrameMkLst>
        </pc:graphicFrameChg>
      </pc:sldChg>
      <pc:sldChg chg="addSp delSp modSp mod modNotesTx">
        <pc:chgData name="Michaelsen, Børje" userId="c36523e3-11ed-4011-9a41-1983019c0634" providerId="ADAL" clId="{E6A33FFF-2505-483E-9155-3932C1EC5308}" dt="2023-09-21T10:16:25.431" v="1180"/>
        <pc:sldMkLst>
          <pc:docMk/>
          <pc:sldMk cId="1557024307" sldId="290"/>
        </pc:sldMkLst>
        <pc:spChg chg="mod">
          <ac:chgData name="Michaelsen, Børje" userId="c36523e3-11ed-4011-9a41-1983019c0634" providerId="ADAL" clId="{E6A33FFF-2505-483E-9155-3932C1EC5308}" dt="2023-09-21T10:16:14.014" v="1179" actId="20577"/>
          <ac:spMkLst>
            <pc:docMk/>
            <pc:sldMk cId="1557024307" sldId="290"/>
            <ac:spMk id="12" creationId="{00000000-0000-0000-0000-000000000000}"/>
          </ac:spMkLst>
        </pc:spChg>
        <pc:graphicFrameChg chg="add mod">
          <ac:chgData name="Michaelsen, Børje" userId="c36523e3-11ed-4011-9a41-1983019c0634" providerId="ADAL" clId="{E6A33FFF-2505-483E-9155-3932C1EC5308}" dt="2023-09-21T10:15:19.262" v="1167"/>
          <ac:graphicFrameMkLst>
            <pc:docMk/>
            <pc:sldMk cId="1557024307" sldId="290"/>
            <ac:graphicFrameMk id="2" creationId="{A2828B79-FC1F-CAD7-0E1E-06FB7EDB49F0}"/>
          </ac:graphicFrameMkLst>
        </pc:graphicFrameChg>
        <pc:graphicFrameChg chg="add mod">
          <ac:chgData name="Michaelsen, Børje" userId="c36523e3-11ed-4011-9a41-1983019c0634" providerId="ADAL" clId="{E6A33FFF-2505-483E-9155-3932C1EC5308}" dt="2023-09-21T10:15:32.219" v="1168"/>
          <ac:graphicFrameMkLst>
            <pc:docMk/>
            <pc:sldMk cId="1557024307" sldId="290"/>
            <ac:graphicFrameMk id="3" creationId="{9542FC25-152B-8DBB-047A-F68C8C823D8F}"/>
          </ac:graphicFrameMkLst>
        </pc:graphicFrameChg>
        <pc:graphicFrameChg chg="del mod">
          <ac:chgData name="Michaelsen, Børje" userId="c36523e3-11ed-4011-9a41-1983019c0634" providerId="ADAL" clId="{E6A33FFF-2505-483E-9155-3932C1EC5308}" dt="2023-09-21T10:14:42.825" v="1163" actId="478"/>
          <ac:graphicFrameMkLst>
            <pc:docMk/>
            <pc:sldMk cId="1557024307" sldId="290"/>
            <ac:graphicFrameMk id="6" creationId="{00000000-0000-0000-0000-000000000000}"/>
          </ac:graphicFrameMkLst>
        </pc:graphicFrameChg>
        <pc:graphicFrameChg chg="del mod">
          <ac:chgData name="Michaelsen, Børje" userId="c36523e3-11ed-4011-9a41-1983019c0634" providerId="ADAL" clId="{E6A33FFF-2505-483E-9155-3932C1EC5308}" dt="2023-09-21T10:14:35.755" v="1161" actId="478"/>
          <ac:graphicFrameMkLst>
            <pc:docMk/>
            <pc:sldMk cId="1557024307" sldId="290"/>
            <ac:graphicFrameMk id="7" creationId="{00000000-0000-0000-0000-000000000000}"/>
          </ac:graphicFrameMkLst>
        </pc:graphicFrameChg>
      </pc:sldChg>
      <pc:sldChg chg="delSp modSp mod modNotesTx">
        <pc:chgData name="Michaelsen, Børje" userId="c36523e3-11ed-4011-9a41-1983019c0634" providerId="ADAL" clId="{E6A33FFF-2505-483E-9155-3932C1EC5308}" dt="2023-09-15T08:29:38.689" v="1152"/>
        <pc:sldMkLst>
          <pc:docMk/>
          <pc:sldMk cId="559240798" sldId="1093"/>
        </pc:sldMkLst>
        <pc:spChg chg="del">
          <ac:chgData name="Michaelsen, Børje" userId="c36523e3-11ed-4011-9a41-1983019c0634" providerId="ADAL" clId="{E6A33FFF-2505-483E-9155-3932C1EC5308}" dt="2023-09-15T08:23:11.953" v="1048" actId="478"/>
          <ac:spMkLst>
            <pc:docMk/>
            <pc:sldMk cId="559240798" sldId="1093"/>
            <ac:spMk id="2" creationId="{A9CA4F69-0A00-457E-97C8-8D999E84DC62}"/>
          </ac:spMkLst>
        </pc:spChg>
        <pc:spChg chg="del">
          <ac:chgData name="Michaelsen, Børje" userId="c36523e3-11ed-4011-9a41-1983019c0634" providerId="ADAL" clId="{E6A33FFF-2505-483E-9155-3932C1EC5308}" dt="2023-09-15T08:29:22.305" v="1146" actId="478"/>
          <ac:spMkLst>
            <pc:docMk/>
            <pc:sldMk cId="559240798" sldId="1093"/>
            <ac:spMk id="3" creationId="{3C75413D-B741-4BCE-8D4A-86EFA4899773}"/>
          </ac:spMkLst>
        </pc:spChg>
        <pc:spChg chg="mod ord">
          <ac:chgData name="Michaelsen, Børje" userId="c36523e3-11ed-4011-9a41-1983019c0634" providerId="ADAL" clId="{E6A33FFF-2505-483E-9155-3932C1EC5308}" dt="2023-09-15T08:29:13.073" v="1142"/>
          <ac:spMkLst>
            <pc:docMk/>
            <pc:sldMk cId="559240798" sldId="1093"/>
            <ac:spMk id="6" creationId="{E6AD9810-77AD-40A7-B695-CF94C0980126}"/>
          </ac:spMkLst>
        </pc:spChg>
        <pc:spChg chg="ord">
          <ac:chgData name="Michaelsen, Børje" userId="c36523e3-11ed-4011-9a41-1983019c0634" providerId="ADAL" clId="{E6A33FFF-2505-483E-9155-3932C1EC5308}" dt="2023-09-15T08:29:34.560" v="1149"/>
          <ac:spMkLst>
            <pc:docMk/>
            <pc:sldMk cId="559240798" sldId="1093"/>
            <ac:spMk id="13" creationId="{0CE86C2E-3F6D-47F7-BCB9-A448CABB2558}"/>
          </ac:spMkLst>
        </pc:spChg>
        <pc:picChg chg="ord">
          <ac:chgData name="Michaelsen, Børje" userId="c36523e3-11ed-4011-9a41-1983019c0634" providerId="ADAL" clId="{E6A33FFF-2505-483E-9155-3932C1EC5308}" dt="2023-09-15T08:29:09.787" v="1141"/>
          <ac:picMkLst>
            <pc:docMk/>
            <pc:sldMk cId="559240798" sldId="1093"/>
            <ac:picMk id="5" creationId="{ED8D46D5-65B2-4C20-A99F-362A277E9657}"/>
          </ac:picMkLst>
        </pc:picChg>
        <pc:picChg chg="mod ord">
          <ac:chgData name="Michaelsen, Børje" userId="c36523e3-11ed-4011-9a41-1983019c0634" providerId="ADAL" clId="{E6A33FFF-2505-483E-9155-3932C1EC5308}" dt="2023-09-15T08:29:17.927" v="1145"/>
          <ac:picMkLst>
            <pc:docMk/>
            <pc:sldMk cId="559240798" sldId="1093"/>
            <ac:picMk id="14" creationId="{EB22ED9D-9831-9FFF-3846-4AF08DB4D4FD}"/>
          </ac:picMkLst>
        </pc:picChg>
        <pc:picChg chg="mod ord">
          <ac:chgData name="Michaelsen, Børje" userId="c36523e3-11ed-4011-9a41-1983019c0634" providerId="ADAL" clId="{E6A33FFF-2505-483E-9155-3932C1EC5308}" dt="2023-09-15T08:29:30.873" v="1147"/>
          <ac:picMkLst>
            <pc:docMk/>
            <pc:sldMk cId="559240798" sldId="1093"/>
            <ac:picMk id="15" creationId="{F8E05E94-D546-4936-0171-28F363AAC3C3}"/>
          </ac:picMkLst>
        </pc:picChg>
        <pc:picChg chg="mod">
          <ac:chgData name="Michaelsen, Børje" userId="c36523e3-11ed-4011-9a41-1983019c0634" providerId="ADAL" clId="{E6A33FFF-2505-483E-9155-3932C1EC5308}" dt="2023-09-15T08:20:59.404" v="963" actId="962"/>
          <ac:picMkLst>
            <pc:docMk/>
            <pc:sldMk cId="559240798" sldId="1093"/>
            <ac:picMk id="16" creationId="{40DFF8E8-EA72-34A8-1FD1-27D796B733EA}"/>
          </ac:picMkLst>
        </pc:picChg>
        <pc:picChg chg="mod ord">
          <ac:chgData name="Michaelsen, Børje" userId="c36523e3-11ed-4011-9a41-1983019c0634" providerId="ADAL" clId="{E6A33FFF-2505-483E-9155-3932C1EC5308}" dt="2023-09-15T08:29:38.689" v="1152"/>
          <ac:picMkLst>
            <pc:docMk/>
            <pc:sldMk cId="559240798" sldId="1093"/>
            <ac:picMk id="17" creationId="{E23712BA-72A5-001B-A2EA-CCF35A8264FF}"/>
          </ac:picMkLst>
        </pc:picChg>
      </pc:sldChg>
      <pc:sldChg chg="addSp delSp modSp add mod">
        <pc:chgData name="Michaelsen, Børje" userId="c36523e3-11ed-4011-9a41-1983019c0634" providerId="ADAL" clId="{E6A33FFF-2505-483E-9155-3932C1EC5308}" dt="2023-09-29T12:52:01.440" v="1704"/>
        <pc:sldMkLst>
          <pc:docMk/>
          <pc:sldMk cId="2611775227" sldId="1095"/>
        </pc:sldMkLst>
        <pc:spChg chg="mod">
          <ac:chgData name="Michaelsen, Børje" userId="c36523e3-11ed-4011-9a41-1983019c0634" providerId="ADAL" clId="{E6A33FFF-2505-483E-9155-3932C1EC5308}" dt="2023-09-29T12:51:52.936" v="1703" actId="14100"/>
          <ac:spMkLst>
            <pc:docMk/>
            <pc:sldMk cId="2611775227" sldId="1095"/>
            <ac:spMk id="2" creationId="{F435C770-84CE-FE99-7F0F-1CBC0D10658C}"/>
          </ac:spMkLst>
        </pc:spChg>
        <pc:spChg chg="add mod">
          <ac:chgData name="Michaelsen, Børje" userId="c36523e3-11ed-4011-9a41-1983019c0634" providerId="ADAL" clId="{E6A33FFF-2505-483E-9155-3932C1EC5308}" dt="2023-09-29T12:52:01.440" v="1704"/>
          <ac:spMkLst>
            <pc:docMk/>
            <pc:sldMk cId="2611775227" sldId="1095"/>
            <ac:spMk id="3" creationId="{DCD36BE4-2642-0790-85B5-10EDD5C92D5D}"/>
          </ac:spMkLst>
        </pc:spChg>
        <pc:spChg chg="mod">
          <ac:chgData name="Michaelsen, Børje" userId="c36523e3-11ed-4011-9a41-1983019c0634" providerId="ADAL" clId="{E6A33FFF-2505-483E-9155-3932C1EC5308}" dt="2023-09-26T07:46:31.046" v="1452" actId="6549"/>
          <ac:spMkLst>
            <pc:docMk/>
            <pc:sldMk cId="2611775227" sldId="1095"/>
            <ac:spMk id="4" creationId="{5E03F8CB-2FC6-6289-5575-EDBBBBB03428}"/>
          </ac:spMkLst>
        </pc:spChg>
        <pc:picChg chg="del">
          <ac:chgData name="Michaelsen, Børje" userId="c36523e3-11ed-4011-9a41-1983019c0634" providerId="ADAL" clId="{E6A33FFF-2505-483E-9155-3932C1EC5308}" dt="2023-09-26T07:44:31.525" v="1390" actId="478"/>
          <ac:picMkLst>
            <pc:docMk/>
            <pc:sldMk cId="2611775227" sldId="1095"/>
            <ac:picMk id="5" creationId="{8FD902E4-DF3C-27ED-02C8-4A3F73E439EC}"/>
          </ac:picMkLst>
        </pc:picChg>
        <pc:picChg chg="add mod">
          <ac:chgData name="Michaelsen, Børje" userId="c36523e3-11ed-4011-9a41-1983019c0634" providerId="ADAL" clId="{E6A33FFF-2505-483E-9155-3932C1EC5308}" dt="2023-09-29T12:51:40.785" v="1702" actId="962"/>
          <ac:picMkLst>
            <pc:docMk/>
            <pc:sldMk cId="2611775227" sldId="1095"/>
            <ac:picMk id="6" creationId="{6236BE43-1BE6-A3D6-387C-5631889937B8}"/>
          </ac:picMkLst>
        </pc:picChg>
      </pc:sldChg>
      <pc:sldChg chg="addSp delSp modSp add mod">
        <pc:chgData name="Michaelsen, Børje" userId="c36523e3-11ed-4011-9a41-1983019c0634" providerId="ADAL" clId="{E6A33FFF-2505-483E-9155-3932C1EC5308}" dt="2023-10-10T08:44:06.853" v="1827" actId="13244"/>
        <pc:sldMkLst>
          <pc:docMk/>
          <pc:sldMk cId="3440108124" sldId="1096"/>
        </pc:sldMkLst>
        <pc:spChg chg="mod">
          <ac:chgData name="Michaelsen, Børje" userId="c36523e3-11ed-4011-9a41-1983019c0634" providerId="ADAL" clId="{E6A33FFF-2505-483E-9155-3932C1EC5308}" dt="2023-10-10T08:40:53.431" v="1729" actId="20577"/>
          <ac:spMkLst>
            <pc:docMk/>
            <pc:sldMk cId="3440108124" sldId="1096"/>
            <ac:spMk id="7" creationId="{00000000-0000-0000-0000-000000000000}"/>
          </ac:spMkLst>
        </pc:spChg>
        <pc:spChg chg="mod">
          <ac:chgData name="Michaelsen, Børje" userId="c36523e3-11ed-4011-9a41-1983019c0634" providerId="ADAL" clId="{E6A33FFF-2505-483E-9155-3932C1EC5308}" dt="2023-10-10T08:43:36.132" v="1824" actId="20577"/>
          <ac:spMkLst>
            <pc:docMk/>
            <pc:sldMk cId="3440108124" sldId="1096"/>
            <ac:spMk id="16" creationId="{01B63842-A613-4DE2-23CF-65894B874DE1}"/>
          </ac:spMkLst>
        </pc:spChg>
        <pc:graphicFrameChg chg="mod">
          <ac:chgData name="Michaelsen, Børje" userId="c36523e3-11ed-4011-9a41-1983019c0634" providerId="ADAL" clId="{E6A33FFF-2505-483E-9155-3932C1EC5308}" dt="2023-10-10T08:41:35.909" v="1733" actId="14100"/>
          <ac:graphicFrameMkLst>
            <pc:docMk/>
            <pc:sldMk cId="3440108124" sldId="1096"/>
            <ac:graphicFrameMk id="12" creationId="{02F3DED4-52B2-ED4A-F002-268A294A1591}"/>
          </ac:graphicFrameMkLst>
        </pc:graphicFrameChg>
        <pc:picChg chg="del">
          <ac:chgData name="Michaelsen, Børje" userId="c36523e3-11ed-4011-9a41-1983019c0634" providerId="ADAL" clId="{E6A33FFF-2505-483E-9155-3932C1EC5308}" dt="2023-10-10T08:41:25.509" v="1730" actId="478"/>
          <ac:picMkLst>
            <pc:docMk/>
            <pc:sldMk cId="3440108124" sldId="1096"/>
            <ac:picMk id="4" creationId="{F6835613-0859-555F-1993-ED905A26FCBC}"/>
          </ac:picMkLst>
        </pc:picChg>
        <pc:picChg chg="add mod ord">
          <ac:chgData name="Michaelsen, Børje" userId="c36523e3-11ed-4011-9a41-1983019c0634" providerId="ADAL" clId="{E6A33FFF-2505-483E-9155-3932C1EC5308}" dt="2023-10-10T08:44:06.853" v="1827" actId="13244"/>
          <ac:picMkLst>
            <pc:docMk/>
            <pc:sldMk cId="3440108124" sldId="1096"/>
            <ac:picMk id="5" creationId="{94CA5AA8-391E-5594-FC27-A8503A8CBBCD}"/>
          </ac:picMkLst>
        </pc:picChg>
      </pc:sldChg>
    </pc:docChg>
  </pc:docChgLst>
  <pc:docChgLst>
    <pc:chgData name="Michaelsen, Børje" userId="S::borje.michaelsen@agderfk.no::c36523e3-11ed-4011-9a41-1983019c0634" providerId="AD" clId="Web-{D9ECD9CB-FFD7-98C2-6833-B4D3CA80F585}"/>
    <pc:docChg chg="modSld">
      <pc:chgData name="Michaelsen, Børje" userId="S::borje.michaelsen@agderfk.no::c36523e3-11ed-4011-9a41-1983019c0634" providerId="AD" clId="Web-{D9ECD9CB-FFD7-98C2-6833-B4D3CA80F585}" dt="2024-08-13T12:59:39.259" v="2"/>
      <pc:docMkLst>
        <pc:docMk/>
      </pc:docMkLst>
      <pc:sldChg chg="modNotes">
        <pc:chgData name="Michaelsen, Børje" userId="S::borje.michaelsen@agderfk.no::c36523e3-11ed-4011-9a41-1983019c0634" providerId="AD" clId="Web-{D9ECD9CB-FFD7-98C2-6833-B4D3CA80F585}" dt="2024-08-13T12:59:39.259" v="2"/>
        <pc:sldMkLst>
          <pc:docMk/>
          <pc:sldMk cId="340623003" sldId="274"/>
        </pc:sldMkLst>
      </pc:sldChg>
    </pc:docChg>
  </pc:docChgLst>
  <pc:docChgLst>
    <pc:chgData name="Michaelsen, Børje" userId="c36523e3-11ed-4011-9a41-1983019c0634" providerId="ADAL" clId="{ECAEB5CB-3378-4487-ADA8-63ED5061A995}"/>
    <pc:docChg chg="custSel modSld">
      <pc:chgData name="Michaelsen, Børje" userId="c36523e3-11ed-4011-9a41-1983019c0634" providerId="ADAL" clId="{ECAEB5CB-3378-4487-ADA8-63ED5061A995}" dt="2024-09-20T08:43:06.013" v="39" actId="20577"/>
      <pc:docMkLst>
        <pc:docMk/>
      </pc:docMkLst>
      <pc:sldChg chg="modSp mod">
        <pc:chgData name="Michaelsen, Børje" userId="c36523e3-11ed-4011-9a41-1983019c0634" providerId="ADAL" clId="{ECAEB5CB-3378-4487-ADA8-63ED5061A995}" dt="2024-09-20T08:42:02.217" v="19" actId="13238"/>
        <pc:sldMkLst>
          <pc:docMk/>
          <pc:sldMk cId="3237931907" sldId="263"/>
        </pc:sldMkLst>
        <pc:graphicFrameChg chg="modGraphic">
          <ac:chgData name="Michaelsen, Børje" userId="c36523e3-11ed-4011-9a41-1983019c0634" providerId="ADAL" clId="{ECAEB5CB-3378-4487-ADA8-63ED5061A995}" dt="2024-09-20T08:42:02.217" v="19" actId="13238"/>
          <ac:graphicFrameMkLst>
            <pc:docMk/>
            <pc:sldMk cId="3237931907" sldId="263"/>
            <ac:graphicFrameMk id="8" creationId="{1F04DA60-B7B3-B4E8-515E-A41EE2EA22A3}"/>
          </ac:graphicFrameMkLst>
        </pc:graphicFrameChg>
      </pc:sldChg>
      <pc:sldChg chg="modSp">
        <pc:chgData name="Michaelsen, Børje" userId="c36523e3-11ed-4011-9a41-1983019c0634" providerId="ADAL" clId="{ECAEB5CB-3378-4487-ADA8-63ED5061A995}" dt="2024-09-20T08:42:15.412" v="21" actId="962"/>
        <pc:sldMkLst>
          <pc:docMk/>
          <pc:sldMk cId="1763573476" sldId="269"/>
        </pc:sldMkLst>
        <pc:graphicFrameChg chg="mod">
          <ac:chgData name="Michaelsen, Børje" userId="c36523e3-11ed-4011-9a41-1983019c0634" providerId="ADAL" clId="{ECAEB5CB-3378-4487-ADA8-63ED5061A995}" dt="2024-09-20T08:42:15.412" v="21" actId="962"/>
          <ac:graphicFrameMkLst>
            <pc:docMk/>
            <pc:sldMk cId="1763573476" sldId="269"/>
            <ac:graphicFrameMk id="4" creationId="{22427995-5A5A-15A8-3F06-87414C285E30}"/>
          </ac:graphicFrameMkLst>
        </pc:graphicFrameChg>
      </pc:sldChg>
      <pc:sldChg chg="addSp delSp modSp mod">
        <pc:chgData name="Michaelsen, Børje" userId="c36523e3-11ed-4011-9a41-1983019c0634" providerId="ADAL" clId="{ECAEB5CB-3378-4487-ADA8-63ED5061A995}" dt="2024-09-12T12:54:26.485" v="18" actId="962"/>
        <pc:sldMkLst>
          <pc:docMk/>
          <pc:sldMk cId="340623003" sldId="274"/>
        </pc:sldMkLst>
        <pc:spChg chg="mod">
          <ac:chgData name="Michaelsen, Børje" userId="c36523e3-11ed-4011-9a41-1983019c0634" providerId="ADAL" clId="{ECAEB5CB-3378-4487-ADA8-63ED5061A995}" dt="2024-09-12T12:53:48.385" v="16" actId="20577"/>
          <ac:spMkLst>
            <pc:docMk/>
            <pc:sldMk cId="340623003" sldId="274"/>
            <ac:spMk id="8" creationId="{00000000-0000-0000-0000-000000000000}"/>
          </ac:spMkLst>
        </pc:spChg>
        <pc:picChg chg="del">
          <ac:chgData name="Michaelsen, Børje" userId="c36523e3-11ed-4011-9a41-1983019c0634" providerId="ADAL" clId="{ECAEB5CB-3378-4487-ADA8-63ED5061A995}" dt="2024-09-12T11:42:45.373" v="0" actId="478"/>
          <ac:picMkLst>
            <pc:docMk/>
            <pc:sldMk cId="340623003" sldId="274"/>
            <ac:picMk id="5" creationId="{00000000-0000-0000-0000-000000000000}"/>
          </ac:picMkLst>
        </pc:picChg>
        <pc:picChg chg="add del mod">
          <ac:chgData name="Michaelsen, Børje" userId="c36523e3-11ed-4011-9a41-1983019c0634" providerId="ADAL" clId="{ECAEB5CB-3378-4487-ADA8-63ED5061A995}" dt="2024-09-12T12:53:20.447" v="8" actId="478"/>
          <ac:picMkLst>
            <pc:docMk/>
            <pc:sldMk cId="340623003" sldId="274"/>
            <ac:picMk id="9" creationId="{81D8294C-38B9-4CF2-9434-965B9A754FB9}"/>
          </ac:picMkLst>
        </pc:picChg>
        <pc:picChg chg="add mod">
          <ac:chgData name="Michaelsen, Børje" userId="c36523e3-11ed-4011-9a41-1983019c0634" providerId="ADAL" clId="{ECAEB5CB-3378-4487-ADA8-63ED5061A995}" dt="2024-09-12T12:54:26.485" v="18" actId="962"/>
          <ac:picMkLst>
            <pc:docMk/>
            <pc:sldMk cId="340623003" sldId="274"/>
            <ac:picMk id="11" creationId="{6959AA73-96B8-D87B-25CA-800BD17C5405}"/>
          </ac:picMkLst>
        </pc:picChg>
      </pc:sldChg>
      <pc:sldChg chg="modSp mod">
        <pc:chgData name="Michaelsen, Børje" userId="c36523e3-11ed-4011-9a41-1983019c0634" providerId="ADAL" clId="{ECAEB5CB-3378-4487-ADA8-63ED5061A995}" dt="2024-09-20T08:42:51.467" v="27" actId="962"/>
        <pc:sldMkLst>
          <pc:docMk/>
          <pc:sldMk cId="559240798" sldId="1093"/>
        </pc:sldMkLst>
        <pc:picChg chg="mod">
          <ac:chgData name="Michaelsen, Børje" userId="c36523e3-11ed-4011-9a41-1983019c0634" providerId="ADAL" clId="{ECAEB5CB-3378-4487-ADA8-63ED5061A995}" dt="2024-09-20T08:42:35.498" v="23" actId="962"/>
          <ac:picMkLst>
            <pc:docMk/>
            <pc:sldMk cId="559240798" sldId="1093"/>
            <ac:picMk id="2" creationId="{9ED16172-C3D5-8141-DDBA-F023E7536CAB}"/>
          </ac:picMkLst>
        </pc:picChg>
        <pc:picChg chg="mod">
          <ac:chgData name="Michaelsen, Børje" userId="c36523e3-11ed-4011-9a41-1983019c0634" providerId="ADAL" clId="{ECAEB5CB-3378-4487-ADA8-63ED5061A995}" dt="2024-09-20T08:42:51.467" v="27" actId="962"/>
          <ac:picMkLst>
            <pc:docMk/>
            <pc:sldMk cId="559240798" sldId="1093"/>
            <ac:picMk id="3" creationId="{9E448481-832A-35B7-1CDD-47F0120F02E0}"/>
          </ac:picMkLst>
        </pc:picChg>
        <pc:picChg chg="mod">
          <ac:chgData name="Michaelsen, Børje" userId="c36523e3-11ed-4011-9a41-1983019c0634" providerId="ADAL" clId="{ECAEB5CB-3378-4487-ADA8-63ED5061A995}" dt="2024-09-20T08:42:43.776" v="25" actId="962"/>
          <ac:picMkLst>
            <pc:docMk/>
            <pc:sldMk cId="559240798" sldId="1093"/>
            <ac:picMk id="4" creationId="{052C2109-C201-6D87-C7B9-CCF183200AAD}"/>
          </ac:picMkLst>
        </pc:picChg>
      </pc:sldChg>
      <pc:sldChg chg="modNotesTx">
        <pc:chgData name="Michaelsen, Børje" userId="c36523e3-11ed-4011-9a41-1983019c0634" providerId="ADAL" clId="{ECAEB5CB-3378-4487-ADA8-63ED5061A995}" dt="2024-09-20T08:43:06.013" v="39" actId="20577"/>
        <pc:sldMkLst>
          <pc:docMk/>
          <pc:sldMk cId="2611775227" sldId="1095"/>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embeddings/oleObject7.bin"/><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embeddings/oleObject8.bin"/><Relationship Id="rId2" Type="http://schemas.microsoft.com/office/2011/relationships/chartColorStyle" Target="colors12.xml"/><Relationship Id="rId1" Type="http://schemas.microsoft.com/office/2011/relationships/chartStyle" Target="style12.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1.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2.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3.xlsx"/></Relationships>
</file>

<file path=ppt/charts/_rels/chart1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7.xml"/><Relationship Id="rId1" Type="http://schemas.microsoft.com/office/2011/relationships/chartStyle" Target="style17.xml"/></Relationships>
</file>

<file path=ppt/charts/_rels/chart17.xml.rels><?xml version="1.0" encoding="UTF-8" standalone="yes"?>
<Relationships xmlns="http://schemas.openxmlformats.org/package/2006/relationships"><Relationship Id="rId3" Type="http://schemas.openxmlformats.org/officeDocument/2006/relationships/oleObject" Target="../embeddings/oleObject9.bin"/><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runnskolepoeng.xlsx" TargetMode="External"/><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jennomf&#248;ring_vgo.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L&#230;rekontrakter_180923.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https://iktagder.sharepoint.com/teams/Analyseavdelingen/Shared%20Documents/Statistikk/Kommunefakta/Sektorfordelt_sysselsetting_tabell_13472_1347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a:t>Igangsatte boliger - SSB 05940</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lotArea>
      <c:layout/>
      <c:barChart>
        <c:barDir val="col"/>
        <c:grouping val="stacked"/>
        <c:varyColors val="0"/>
        <c:ser>
          <c:idx val="0"/>
          <c:order val="0"/>
          <c:tx>
            <c:strRef>
              <c:f>'[Igangsatt_bolig.xlsx]Bolig pivot'!$R$30</c:f>
              <c:strCache>
                <c:ptCount val="1"/>
                <c:pt idx="0">
                  <c:v>Eneboli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0:$AF$30</c:f>
              <c:numCache>
                <c:formatCode>General</c:formatCode>
                <c:ptCount val="6"/>
                <c:pt idx="0">
                  <c:v>15</c:v>
                </c:pt>
                <c:pt idx="1">
                  <c:v>8</c:v>
                </c:pt>
                <c:pt idx="2">
                  <c:v>13</c:v>
                </c:pt>
                <c:pt idx="3">
                  <c:v>20</c:v>
                </c:pt>
                <c:pt idx="4">
                  <c:v>17</c:v>
                </c:pt>
                <c:pt idx="5">
                  <c:v>14</c:v>
                </c:pt>
              </c:numCache>
            </c:numRef>
          </c:val>
          <c:extLst>
            <c:ext xmlns:c16="http://schemas.microsoft.com/office/drawing/2014/chart" uri="{C3380CC4-5D6E-409C-BE32-E72D297353CC}">
              <c16:uniqueId val="{00000000-49F0-46DC-8B73-A59790A0179F}"/>
            </c:ext>
          </c:extLst>
        </c:ser>
        <c:ser>
          <c:idx val="1"/>
          <c:order val="1"/>
          <c:tx>
            <c:strRef>
              <c:f>'[Igangsatt_bolig.xlsx]Bolig pivot'!$R$31</c:f>
              <c:strCache>
                <c:ptCount val="1"/>
                <c:pt idx="0">
                  <c:v>Tomannsbolig, rekkehus, småhu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1:$AF$31</c:f>
              <c:numCache>
                <c:formatCode>General</c:formatCode>
                <c:ptCount val="6"/>
                <c:pt idx="0">
                  <c:v>2</c:v>
                </c:pt>
                <c:pt idx="1">
                  <c:v>0</c:v>
                </c:pt>
                <c:pt idx="2">
                  <c:v>1</c:v>
                </c:pt>
                <c:pt idx="3">
                  <c:v>23</c:v>
                </c:pt>
                <c:pt idx="4">
                  <c:v>11</c:v>
                </c:pt>
                <c:pt idx="5">
                  <c:v>22</c:v>
                </c:pt>
              </c:numCache>
            </c:numRef>
          </c:val>
          <c:extLst>
            <c:ext xmlns:c16="http://schemas.microsoft.com/office/drawing/2014/chart" uri="{C3380CC4-5D6E-409C-BE32-E72D297353CC}">
              <c16:uniqueId val="{00000001-49F0-46DC-8B73-A59790A0179F}"/>
            </c:ext>
          </c:extLst>
        </c:ser>
        <c:ser>
          <c:idx val="2"/>
          <c:order val="2"/>
          <c:tx>
            <c:strRef>
              <c:f>'[Igangsatt_bolig.xlsx]Bolig pivot'!$R$32</c:f>
              <c:strCache>
                <c:ptCount val="1"/>
                <c:pt idx="0">
                  <c:v>Leilighetsbygg</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2:$AF$32</c:f>
              <c:numCache>
                <c:formatCode>General</c:formatCode>
                <c:ptCount val="6"/>
                <c:pt idx="0">
                  <c:v>4</c:v>
                </c:pt>
                <c:pt idx="1">
                  <c:v>0</c:v>
                </c:pt>
                <c:pt idx="2">
                  <c:v>30</c:v>
                </c:pt>
                <c:pt idx="3">
                  <c:v>0</c:v>
                </c:pt>
                <c:pt idx="4">
                  <c:v>12</c:v>
                </c:pt>
                <c:pt idx="5">
                  <c:v>0</c:v>
                </c:pt>
              </c:numCache>
            </c:numRef>
          </c:val>
          <c:extLst>
            <c:ext xmlns:c16="http://schemas.microsoft.com/office/drawing/2014/chart" uri="{C3380CC4-5D6E-409C-BE32-E72D297353CC}">
              <c16:uniqueId val="{00000002-49F0-46DC-8B73-A59790A0179F}"/>
            </c:ext>
          </c:extLst>
        </c:ser>
        <c:ser>
          <c:idx val="3"/>
          <c:order val="3"/>
          <c:tx>
            <c:strRef>
              <c:f>'[Igangsatt_bolig.xlsx]Bolig pivot'!$R$33</c:f>
              <c:strCache>
                <c:ptCount val="1"/>
                <c:pt idx="0">
                  <c:v>Institusjon, studenthjem, bofellesskap</c:v>
                </c:pt>
              </c:strCache>
            </c:strRef>
          </c:tx>
          <c:spPr>
            <a:solidFill>
              <a:schemeClr val="accent4"/>
            </a:solidFill>
            <a:ln>
              <a:noFill/>
            </a:ln>
            <a:effectLst/>
          </c:spPr>
          <c:invertIfNegative val="0"/>
          <c:dLbls>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9F0-46DC-8B73-A59790A0179F}"/>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9F0-46DC-8B73-A59790A0179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3:$AF$33</c:f>
              <c:numCache>
                <c:formatCode>General</c:formatCode>
                <c:ptCount val="6"/>
                <c:pt idx="0">
                  <c:v>3</c:v>
                </c:pt>
                <c:pt idx="1">
                  <c:v>0</c:v>
                </c:pt>
                <c:pt idx="2">
                  <c:v>0</c:v>
                </c:pt>
                <c:pt idx="3">
                  <c:v>0</c:v>
                </c:pt>
                <c:pt idx="4">
                  <c:v>0</c:v>
                </c:pt>
                <c:pt idx="5">
                  <c:v>6</c:v>
                </c:pt>
              </c:numCache>
            </c:numRef>
          </c:val>
          <c:extLst>
            <c:ext xmlns:c16="http://schemas.microsoft.com/office/drawing/2014/chart" uri="{C3380CC4-5D6E-409C-BE32-E72D297353CC}">
              <c16:uniqueId val="{00000005-49F0-46DC-8B73-A59790A0179F}"/>
            </c:ext>
          </c:extLst>
        </c:ser>
        <c:dLbls>
          <c:showLegendKey val="0"/>
          <c:showVal val="0"/>
          <c:showCatName val="0"/>
          <c:showSerName val="0"/>
          <c:showPercent val="0"/>
          <c:showBubbleSize val="0"/>
        </c:dLbls>
        <c:gapWidth val="150"/>
        <c:overlap val="100"/>
        <c:axId val="1119688152"/>
        <c:axId val="1119687496"/>
      </c:barChart>
      <c:catAx>
        <c:axId val="1119688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7496"/>
        <c:crosses val="autoZero"/>
        <c:auto val="1"/>
        <c:lblAlgn val="ctr"/>
        <c:lblOffset val="100"/>
        <c:noMultiLvlLbl val="0"/>
      </c:catAx>
      <c:valAx>
        <c:axId val="1119687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81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solidFill>
            <a:sysClr val="windowText" lastClr="000000"/>
          </a:solidFill>
        </a:defRPr>
      </a:pPr>
      <a:endParaRPr lang="nb-NO"/>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ysselsetting_landbakgrunn.xlsx]Pivot!Pivottabell4</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Andel sysselsatte over tid, landbakgrunn og kjønn (20-66 å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pivotFmt>
      <c:pivotFmt>
        <c:idx val="5"/>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3"/>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B$3:$B$4</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B$5:$B$11</c:f>
              <c:numCache>
                <c:formatCode>General</c:formatCode>
                <c:ptCount val="4"/>
                <c:pt idx="0">
                  <c:v>74.8</c:v>
                </c:pt>
                <c:pt idx="1">
                  <c:v>78.900000000000006</c:v>
                </c:pt>
                <c:pt idx="2">
                  <c:v>58.7</c:v>
                </c:pt>
                <c:pt idx="3">
                  <c:v>58.6</c:v>
                </c:pt>
              </c:numCache>
            </c:numRef>
          </c:val>
          <c:extLst>
            <c:ext xmlns:c16="http://schemas.microsoft.com/office/drawing/2014/chart" uri="{C3380CC4-5D6E-409C-BE32-E72D297353CC}">
              <c16:uniqueId val="{00000000-0F35-4482-AB5F-F4AA20CE1E0E}"/>
            </c:ext>
          </c:extLst>
        </c:ser>
        <c:ser>
          <c:idx val="1"/>
          <c:order val="1"/>
          <c:tx>
            <c:strRef>
              <c:f>Pivot!$C$3:$C$4</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C$5:$C$11</c:f>
              <c:numCache>
                <c:formatCode>General</c:formatCode>
                <c:ptCount val="4"/>
                <c:pt idx="0">
                  <c:v>75.900000000000006</c:v>
                </c:pt>
                <c:pt idx="1">
                  <c:v>81</c:v>
                </c:pt>
                <c:pt idx="2">
                  <c:v>61.3</c:v>
                </c:pt>
                <c:pt idx="3">
                  <c:v>70.900000000000006</c:v>
                </c:pt>
              </c:numCache>
            </c:numRef>
          </c:val>
          <c:extLst>
            <c:ext xmlns:c16="http://schemas.microsoft.com/office/drawing/2014/chart" uri="{C3380CC4-5D6E-409C-BE32-E72D297353CC}">
              <c16:uniqueId val="{00000001-0F35-4482-AB5F-F4AA20CE1E0E}"/>
            </c:ext>
          </c:extLst>
        </c:ser>
        <c:ser>
          <c:idx val="2"/>
          <c:order val="2"/>
          <c:tx>
            <c:strRef>
              <c:f>Pivot!$D$3:$D$4</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D$5:$D$11</c:f>
              <c:numCache>
                <c:formatCode>General</c:formatCode>
                <c:ptCount val="4"/>
                <c:pt idx="0">
                  <c:v>75.099999999999994</c:v>
                </c:pt>
                <c:pt idx="1">
                  <c:v>80.8</c:v>
                </c:pt>
                <c:pt idx="2">
                  <c:v>54</c:v>
                </c:pt>
                <c:pt idx="3">
                  <c:v>63.6</c:v>
                </c:pt>
              </c:numCache>
            </c:numRef>
          </c:val>
          <c:extLst>
            <c:ext xmlns:c16="http://schemas.microsoft.com/office/drawing/2014/chart" uri="{C3380CC4-5D6E-409C-BE32-E72D297353CC}">
              <c16:uniqueId val="{00000002-0F35-4482-AB5F-F4AA20CE1E0E}"/>
            </c:ext>
          </c:extLst>
        </c:ser>
        <c:ser>
          <c:idx val="3"/>
          <c:order val="3"/>
          <c:tx>
            <c:strRef>
              <c:f>Pivot!$E$3:$E$4</c:f>
              <c:strCache>
                <c:ptCount val="1"/>
                <c:pt idx="0">
                  <c:v>2023</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E$5:$E$11</c:f>
              <c:numCache>
                <c:formatCode>General</c:formatCode>
                <c:ptCount val="4"/>
                <c:pt idx="0">
                  <c:v>74.7</c:v>
                </c:pt>
                <c:pt idx="1">
                  <c:v>80.5</c:v>
                </c:pt>
                <c:pt idx="2">
                  <c:v>54.8</c:v>
                </c:pt>
                <c:pt idx="3">
                  <c:v>57.2</c:v>
                </c:pt>
              </c:numCache>
            </c:numRef>
          </c:val>
          <c:extLst>
            <c:ext xmlns:c16="http://schemas.microsoft.com/office/drawing/2014/chart" uri="{C3380CC4-5D6E-409C-BE32-E72D297353CC}">
              <c16:uniqueId val="{00000003-0F35-4482-AB5F-F4AA20CE1E0E}"/>
            </c:ext>
          </c:extLst>
        </c:ser>
        <c:dLbls>
          <c:dLblPos val="outEnd"/>
          <c:showLegendKey val="0"/>
          <c:showVal val="1"/>
          <c:showCatName val="0"/>
          <c:showSerName val="0"/>
          <c:showPercent val="0"/>
          <c:showBubbleSize val="0"/>
        </c:dLbls>
        <c:gapWidth val="219"/>
        <c:overlap val="-27"/>
        <c:axId val="1568375855"/>
        <c:axId val="36535088"/>
      </c:barChart>
      <c:catAx>
        <c:axId val="1568375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36535088"/>
        <c:crosses val="autoZero"/>
        <c:auto val="1"/>
        <c:lblAlgn val="ctr"/>
        <c:lblOffset val="100"/>
        <c:noMultiLvlLbl val="0"/>
      </c:catAx>
      <c:valAx>
        <c:axId val="36535088"/>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83758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Vedvarende__lavinntekt.xlsx]Pivot_2022!Pivottabell3</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b="0" i="0" u="none" strike="noStrike" kern="1200" spc="0" baseline="0" dirty="0">
                <a:solidFill>
                  <a:sysClr val="windowText" lastClr="000000"/>
                </a:solidFill>
                <a:latin typeface="Arial" panose="020B0604020202020204" pitchFamily="34" charset="0"/>
                <a:cs typeface="Arial" panose="020B0604020202020204" pitchFamily="34" charset="0"/>
              </a:rPr>
              <a:t>Andel personer i husholdninger med vedvarende lavinntekt (EU6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layout>
            <c:manualLayout>
              <c:x val="9.365487024990364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4"/>
        <c:dLbl>
          <c:idx val="0"/>
          <c:layout>
            <c:manualLayout>
              <c:x val="9.3654870249903644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5"/>
        <c:dLbl>
          <c:idx val="0"/>
          <c:layout>
            <c:manualLayout>
              <c:x val="1.092640152915542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6"/>
        <c:dLbl>
          <c:idx val="0"/>
          <c:layout>
            <c:manualLayout>
              <c:x val="1.2487316033320485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7"/>
        <c:dLbl>
          <c:idx val="0"/>
          <c:layout>
            <c:manualLayout>
              <c:x val="1.4048230537485489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8"/>
        <c:dLbl>
          <c:idx val="0"/>
          <c:layout>
            <c:manualLayout>
              <c:x val="1.404823053748554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9"/>
        <c:dLbl>
          <c:idx val="0"/>
          <c:layout>
            <c:manualLayout>
              <c:x val="1.8730974049980729E-2"/>
              <c:y val="-2.989745081423486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0"/>
        <c:dLbl>
          <c:idx val="0"/>
          <c:layout>
            <c:manualLayout>
              <c:x val="1.873097404998061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1"/>
        <c:dLbl>
          <c:idx val="0"/>
          <c:layout>
            <c:manualLayout>
              <c:x val="1.404823053748543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2"/>
        <c:dLbl>
          <c:idx val="0"/>
          <c:layout>
            <c:manualLayout>
              <c:x val="1.24873160333204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3"/>
          </a:solidFill>
          <a:ln>
            <a:noFill/>
          </a:ln>
          <a:effectLst/>
        </c:spPr>
        <c:dLbl>
          <c:idx val="0"/>
          <c:layout>
            <c:manualLayout>
              <c:x val="1.0627798015889308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3"/>
          </a:solidFill>
          <a:ln>
            <a:noFill/>
          </a:ln>
          <a:effectLst/>
        </c:spPr>
        <c:dLbl>
          <c:idx val="0"/>
          <c:layout>
            <c:manualLayout>
              <c:x val="1.0627798015889308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3"/>
          </a:solidFill>
          <a:ln>
            <a:noFill/>
          </a:ln>
          <a:effectLst/>
        </c:spPr>
        <c:dLbl>
          <c:idx val="0"/>
          <c:layout>
            <c:manualLayout>
              <c:x val="7.591284297063810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3"/>
          </a:solidFill>
          <a:ln>
            <a:noFill/>
          </a:ln>
          <a:effectLst/>
        </c:spPr>
        <c:dLbl>
          <c:idx val="0"/>
          <c:layout>
            <c:manualLayout>
              <c:x val="9.10954115647651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3"/>
          </a:solidFill>
          <a:ln>
            <a:noFill/>
          </a:ln>
          <a:effectLst/>
        </c:spPr>
        <c:dLbl>
          <c:idx val="0"/>
          <c:layout>
            <c:manualLayout>
              <c:x val="1.366431173471491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3"/>
          </a:solidFill>
          <a:ln>
            <a:noFill/>
          </a:ln>
          <a:effectLst/>
        </c:spPr>
        <c:dLbl>
          <c:idx val="0"/>
          <c:layout>
            <c:manualLayout>
              <c:x val="1.6700825453540385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3"/>
          </a:solidFill>
          <a:ln>
            <a:noFill/>
          </a:ln>
          <a:effectLst/>
        </c:spPr>
        <c:dLbl>
          <c:idx val="0"/>
          <c:layout>
            <c:manualLayout>
              <c:x val="9.109541156476573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3"/>
          </a:solidFill>
          <a:ln>
            <a:noFill/>
          </a:ln>
          <a:effectLst/>
        </c:spPr>
        <c:dLbl>
          <c:idx val="0"/>
          <c:layout>
            <c:manualLayout>
              <c:x val="1.3664311734714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3"/>
          </a:solidFill>
          <a:ln>
            <a:noFill/>
          </a:ln>
          <a:effectLst/>
        </c:spPr>
        <c:dLbl>
          <c:idx val="0"/>
          <c:layout>
            <c:manualLayout>
              <c:x val="1.518256859412762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3"/>
          </a:solidFill>
          <a:ln>
            <a:noFill/>
          </a:ln>
          <a:effectLst/>
        </c:spPr>
        <c:dLbl>
          <c:idx val="0"/>
          <c:layout>
            <c:manualLayout>
              <c:x val="1.36643117347146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dLbl>
          <c:idx val="0"/>
          <c:layout>
            <c:manualLayout>
              <c:x val="9.3436101600601965E-3"/>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6"/>
        <c:dLbl>
          <c:idx val="0"/>
          <c:layout>
            <c:manualLayout>
              <c:x val="9.3436101600601826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8"/>
        <c:dLbl>
          <c:idx val="0"/>
          <c:layout>
            <c:manualLayout>
              <c:x val="1.40154152400902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9"/>
        <c:dLbl>
          <c:idx val="0"/>
          <c:layout>
            <c:manualLayout>
              <c:x val="1.401541524009031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0"/>
        <c:dLbl>
          <c:idx val="0"/>
          <c:layout>
            <c:manualLayout>
              <c:x val="1.245814688008028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1"/>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2"/>
        <c:dLbl>
          <c:idx val="0"/>
          <c:layout>
            <c:manualLayout>
              <c:x val="1.40154152400902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3"/>
        <c:dLbl>
          <c:idx val="0"/>
          <c:layout>
            <c:manualLayout>
              <c:x val="1.245814688008028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4"/>
        <c:dLbl>
          <c:idx val="0"/>
          <c:layout>
            <c:manualLayout>
              <c:x val="2.024448868013045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dLbl>
          <c:idx val="0"/>
          <c:layout>
            <c:manualLayout>
              <c:x val="1.2650219803794592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8"/>
        <c:dLbl>
          <c:idx val="0"/>
          <c:layout>
            <c:manualLayout>
              <c:x val="9.4876648528459447E-3"/>
              <c:y val="6.523155532830031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9"/>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0"/>
        <c:dLbl>
          <c:idx val="0"/>
          <c:layout>
            <c:manualLayout>
              <c:x val="1.1068942328320269E-2"/>
              <c:y val="3.2615777664149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1"/>
        <c:dLbl>
          <c:idx val="0"/>
          <c:layout>
            <c:manualLayout>
              <c:x val="1.4231497279268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2"/>
        <c:dLbl>
          <c:idx val="0"/>
          <c:layout>
            <c:manualLayout>
              <c:x val="1.7394052230217449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3"/>
        <c:dLbl>
          <c:idx val="0"/>
          <c:layout>
            <c:manualLayout>
              <c:x val="1.423149727926891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4"/>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5"/>
        <c:dLbl>
          <c:idx val="0"/>
          <c:layout>
            <c:manualLayout>
              <c:x val="1.2650219803794592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6"/>
        <c:dLbl>
          <c:idx val="0"/>
          <c:layout>
            <c:manualLayout>
              <c:x val="1.8975329705691775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9"/>
        <c:dLbl>
          <c:idx val="0"/>
          <c:layout>
            <c:manualLayout>
              <c:x val="1.2458146880080253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0"/>
        <c:dLbl>
          <c:idx val="0"/>
          <c:layout>
            <c:manualLayout>
              <c:x val="1.2458146880080224E-2"/>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1"/>
        <c:dLbl>
          <c:idx val="0"/>
          <c:layout>
            <c:manualLayout>
              <c:x val="7.786341800050118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2"/>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3"/>
        <c:dLbl>
          <c:idx val="0"/>
          <c:layout>
            <c:manualLayout>
              <c:x val="1.868722032012031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4"/>
        <c:dLbl>
          <c:idx val="0"/>
          <c:layout>
            <c:manualLayout>
              <c:x val="6.2290734400401405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5"/>
        <c:dLbl>
          <c:idx val="0"/>
          <c:layout>
            <c:manualLayout>
              <c:x val="1.5572683600100352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6"/>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dLbl>
          <c:idx val="0"/>
          <c:layout>
            <c:manualLayout>
              <c:x val="1.393404381921533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dLbl>
          <c:idx val="0"/>
          <c:layout>
            <c:manualLayout>
              <c:x val="7.74113545511961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dLbl>
          <c:idx val="0"/>
          <c:layout>
            <c:manualLayout>
              <c:x val="1.39340438192152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dLbl>
          <c:idx val="0"/>
          <c:layout>
            <c:manualLayout>
              <c:x val="6.192908364095655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dLbl>
          <c:idx val="0"/>
          <c:layout>
            <c:manualLayout>
              <c:x val="1.2385816728191423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dLbl>
          <c:idx val="0"/>
          <c:layout>
            <c:manualLayout>
              <c:x val="1.39340438192152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dLbl>
          <c:idx val="0"/>
          <c:layout>
            <c:manualLayout>
              <c:x val="1.39340438192153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dLbl>
          <c:idx val="0"/>
          <c:layout>
            <c:manualLayout>
              <c:x val="1.083758963716749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dLbl>
          <c:idx val="0"/>
          <c:layout>
            <c:manualLayout>
              <c:x val="1.083758963716749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dLbl>
          <c:idx val="0"/>
          <c:layout>
            <c:manualLayout>
              <c:x val="1.5482270910239279E-2"/>
              <c:y val="-1.630788883207522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dLbl>
          <c:idx val="0"/>
          <c:layout>
            <c:manualLayout>
              <c:x val="9.3001616177691027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1"/>
        <c:dLbl>
          <c:idx val="0"/>
          <c:layout>
            <c:manualLayout>
              <c:x val="1.3950242426653823E-2"/>
              <c:y val="3.261577766415075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2"/>
        <c:dLbl>
          <c:idx val="0"/>
          <c:layout>
            <c:manualLayout>
              <c:x val="1.08501885540640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3"/>
        <c:dLbl>
          <c:idx val="0"/>
          <c:layout>
            <c:manualLayout>
              <c:x val="1.2400215490358954E-2"/>
              <c:y val="-9.784733299245167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4"/>
        <c:dLbl>
          <c:idx val="0"/>
          <c:layout>
            <c:manualLayout>
              <c:x val="7.7501346814742326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5"/>
        <c:dLbl>
          <c:idx val="0"/>
          <c:layout>
            <c:manualLayout>
              <c:x val="9.3001616177691877E-3"/>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6"/>
        <c:dLbl>
          <c:idx val="0"/>
          <c:layout>
            <c:manualLayout>
              <c:x val="9.300161617769201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dLbl>
          <c:idx val="0"/>
          <c:layout>
            <c:manualLayout>
              <c:x val="7.531253813809126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dLbl>
          <c:idx val="0"/>
          <c:layout>
            <c:manualLayout>
              <c:x val="9.0375045765709421E-3"/>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dLbl>
          <c:idx val="0"/>
          <c:layout>
            <c:manualLayout>
              <c:x val="9.0375045765709698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layout>
            <c:manualLayout>
              <c:x val="1.506250762761822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3"/>
        <c:dLbl>
          <c:idx val="0"/>
          <c:layout>
            <c:manualLayout>
              <c:x val="1.656875839038005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dLbl>
          <c:idx val="0"/>
          <c:layout>
            <c:manualLayout>
              <c:x val="1.054375533933279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dLbl>
          <c:idx val="0"/>
          <c:layout>
            <c:manualLayout>
              <c:x val="1.506250762761817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dLbl>
          <c:idx val="0"/>
          <c:layout>
            <c:manualLayout>
              <c:x val="1.355625686485634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dLbl>
          <c:idx val="0"/>
          <c:layout>
            <c:manualLayout>
              <c:x val="1.0543755339332798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dLbl>
          <c:idx val="0"/>
          <c:layout>
            <c:manualLayout>
              <c:x val="1.3556256864856564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0"/>
        <c:dLbl>
          <c:idx val="0"/>
          <c:layout>
            <c:manualLayout>
              <c:x val="1.1354420113544201E-2"/>
              <c:y val="-6.245119463726182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dLbl>
          <c:idx val="0"/>
          <c:layout>
            <c:manualLayout>
              <c:x val="1.4598540145985401E-2"/>
              <c:y val="-3.122559731863091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dLbl>
          <c:idx val="0"/>
          <c:layout>
            <c:manualLayout>
              <c:x val="9.7323600973236602E-3"/>
              <c:y val="-3.1225597318631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dLbl>
          <c:idx val="0"/>
          <c:layout>
            <c:manualLayout>
              <c:x val="1.1354420113544201E-2"/>
              <c:y val="-2.862313355186370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dLbl>
          <c:idx val="0"/>
          <c:layout>
            <c:manualLayout>
              <c:x val="4.866180048661800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5"/>
        <c:dLbl>
          <c:idx val="0"/>
          <c:layout>
            <c:manualLayout>
              <c:x val="8.110300081103000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6"/>
        <c:dLbl>
          <c:idx val="0"/>
          <c:layout>
            <c:manualLayout>
              <c:x val="1.13544201135442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7"/>
        <c:dLbl>
          <c:idx val="0"/>
          <c:layout>
            <c:manualLayout>
              <c:x val="1.45985401459854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0"/>
        <c:dLbl>
          <c:idx val="0"/>
          <c:layout>
            <c:manualLayout>
              <c:x val="7.9782990266475187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1"/>
        <c:dLbl>
          <c:idx val="0"/>
          <c:layout>
            <c:manualLayout>
              <c:x val="1.276527844263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2"/>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3"/>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4"/>
        <c:dLbl>
          <c:idx val="0"/>
          <c:layout>
            <c:manualLayout>
              <c:x val="1.116961863730652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5"/>
        <c:dLbl>
          <c:idx val="0"/>
          <c:layout>
            <c:manualLayout>
              <c:x val="1.2765278442636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6"/>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7"/>
        <c:dLbl>
          <c:idx val="0"/>
          <c:layout>
            <c:manualLayout>
              <c:x val="1.595659805329491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8"/>
        <c:dLbl>
          <c:idx val="0"/>
          <c:layout>
            <c:manualLayout>
              <c:x val="1.9147917663954045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9"/>
        <c:dLbl>
          <c:idx val="0"/>
          <c:layout>
            <c:manualLayout>
              <c:x val="1.436093824796553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1"/>
        <c:dLbl>
          <c:idx val="0"/>
          <c:layout>
            <c:manualLayout>
              <c:x val="6.4210610803435266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2"/>
        <c:dLbl>
          <c:idx val="0"/>
          <c:layout>
            <c:manualLayout>
              <c:x val="9.631591620515319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3"/>
        <c:dLbl>
          <c:idx val="0"/>
          <c:layout>
            <c:manualLayout>
              <c:x val="9.631591620515231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4"/>
        <c:dLbl>
          <c:idx val="0"/>
          <c:layout>
            <c:manualLayout>
              <c:x val="1.284212216068699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5"/>
        <c:dLbl>
          <c:idx val="0"/>
          <c:layout>
            <c:manualLayout>
              <c:x val="1.6052652700858816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6"/>
        <c:dLbl>
          <c:idx val="0"/>
          <c:layout>
            <c:manualLayout>
              <c:x val="1.1236856890601055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7"/>
        <c:dLbl>
          <c:idx val="0"/>
          <c:layout>
            <c:manualLayout>
              <c:x val="1.444738743077293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8"/>
        <c:dLbl>
          <c:idx val="0"/>
          <c:layout>
            <c:manualLayout>
              <c:x val="1.9263183241030581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9"/>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0"/>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2"/>
        <c:dLbl>
          <c:idx val="0"/>
          <c:layout>
            <c:manualLayout>
              <c:x val="9.551098376313276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3"/>
        <c:dLbl>
          <c:idx val="0"/>
          <c:layout>
            <c:manualLayout>
              <c:x val="1.273479783508425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4"/>
        <c:dLbl>
          <c:idx val="0"/>
          <c:layout>
            <c:manualLayout>
              <c:x val="1.4326647564469915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5"/>
        <c:dLbl>
          <c:idx val="0"/>
          <c:layout>
            <c:manualLayout>
              <c:x val="1.9102196752626553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6"/>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7"/>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8"/>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9"/>
        <c:dLbl>
          <c:idx val="0"/>
          <c:layout>
            <c:manualLayout>
              <c:x val="1.4326647564469856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0"/>
        <c:dLbl>
          <c:idx val="0"/>
          <c:layout>
            <c:manualLayout>
              <c:x val="1.751034702324100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1"/>
        <c:dLbl>
          <c:idx val="0"/>
          <c:layout>
            <c:manualLayout>
              <c:x val="1.114294810569883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3"/>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4"/>
        <c:dLbl>
          <c:idx val="0"/>
          <c:layout>
            <c:manualLayout>
              <c:x val="1.1346138260799093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5"/>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6"/>
        <c:dLbl>
          <c:idx val="0"/>
          <c:layout>
            <c:manualLayout>
              <c:x val="1.2967015155198902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7"/>
        <c:dLbl>
          <c:idx val="0"/>
          <c:layout>
            <c:manualLayout>
              <c:x val="1.1346138260799093E-2"/>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8"/>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9"/>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0"/>
        <c:dLbl>
          <c:idx val="0"/>
          <c:layout>
            <c:manualLayout>
              <c:x val="1.6208768943998704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1"/>
        <c:dLbl>
          <c:idx val="0"/>
          <c:layout>
            <c:manualLayout>
              <c:x val="9.7252613663992224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2"/>
        <c:dLbl>
          <c:idx val="0"/>
          <c:layout>
            <c:manualLayout>
              <c:x val="6.4835075775994816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4"/>
        <c:dLbl>
          <c:idx val="0"/>
          <c:layout>
            <c:manualLayout>
              <c:x val="1.0946907498631636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5"/>
        <c:dLbl>
          <c:idx val="0"/>
          <c:layout>
            <c:manualLayout>
              <c:x val="1.2510751427007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7"/>
        <c:dLbl>
          <c:idx val="0"/>
          <c:layout>
            <c:manualLayout>
              <c:x val="6.547180620345364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8"/>
        <c:dLbl>
          <c:idx val="0"/>
          <c:layout>
            <c:manualLayout>
              <c:x val="4.9103854652590229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9"/>
        <c:dLbl>
          <c:idx val="0"/>
          <c:layout>
            <c:manualLayout>
              <c:x val="3.273590310172682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0"/>
        <c:dLbl>
          <c:idx val="0"/>
          <c:layout>
            <c:manualLayout>
              <c:x val="1.1457566085604387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1"/>
        <c:dLbl>
          <c:idx val="0"/>
          <c:layout>
            <c:manualLayout>
              <c:x val="6.547180620345303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2"/>
        <c:dLbl>
          <c:idx val="0"/>
          <c:layout>
            <c:manualLayout>
              <c:x val="8.183975775431704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3"/>
        <c:dLbl>
          <c:idx val="0"/>
          <c:layout>
            <c:manualLayout>
              <c:x val="1.96415418610359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4"/>
        <c:dLbl>
          <c:idx val="0"/>
          <c:layout>
            <c:manualLayout>
              <c:x val="1.145756608560438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5"/>
        <c:dLbl>
          <c:idx val="0"/>
          <c:layout>
            <c:manualLayout>
              <c:x val="1.6367951550863291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6"/>
        <c:dLbl>
          <c:idx val="0"/>
          <c:layout>
            <c:manualLayout>
              <c:x val="9.8207709305179261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8"/>
        <c:dLbl>
          <c:idx val="0"/>
          <c:layout>
            <c:manualLayout>
              <c:x val="1.2795905310300689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9"/>
        <c:dLbl>
          <c:idx val="0"/>
          <c:layout>
            <c:manualLayout>
              <c:x val="9.596928982725527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0"/>
        <c:dLbl>
          <c:idx val="0"/>
          <c:layout>
            <c:manualLayout>
              <c:x val="7.997440818937880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1"/>
        <c:dLbl>
          <c:idx val="0"/>
          <c:layout>
            <c:manualLayout>
              <c:x val="1.11964171465131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2"/>
        <c:dLbl>
          <c:idx val="0"/>
          <c:layout>
            <c:manualLayout>
              <c:x val="1.1196417146513116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3"/>
        <c:dLbl>
          <c:idx val="0"/>
          <c:layout>
            <c:manualLayout>
              <c:x val="1.9193857965451054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4"/>
        <c:dLbl>
          <c:idx val="0"/>
          <c:layout>
            <c:manualLayout>
              <c:x val="1.919385796545105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5"/>
        <c:dLbl>
          <c:idx val="0"/>
          <c:layout>
            <c:manualLayout>
              <c:x val="1.4395393474088292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6"/>
        <c:dLbl>
          <c:idx val="0"/>
          <c:layout>
            <c:manualLayout>
              <c:x val="1.4395393474088292E-2"/>
              <c:y val="-6.0168457467888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7"/>
        <c:dLbl>
          <c:idx val="0"/>
          <c:layout>
            <c:manualLayout>
              <c:x val="1.599488163787588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9"/>
        <c:spPr>
          <a:solidFill>
            <a:schemeClr val="accent1"/>
          </a:solidFill>
          <a:ln>
            <a:noFill/>
          </a:ln>
          <a:effectLst/>
        </c:spPr>
        <c:dLbl>
          <c:idx val="0"/>
          <c:layout>
            <c:manualLayout>
              <c:x val="9.85707244948250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0"/>
        <c:spPr>
          <a:solidFill>
            <a:schemeClr val="accent1"/>
          </a:solidFill>
          <a:ln>
            <a:noFill/>
          </a:ln>
          <a:effectLst/>
        </c:spPr>
        <c:dLbl>
          <c:idx val="0"/>
          <c:layout>
            <c:manualLayout>
              <c:x val="1.149991785772958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1"/>
        <c:spPr>
          <a:solidFill>
            <a:schemeClr val="accent1"/>
          </a:solidFill>
          <a:ln>
            <a:noFill/>
          </a:ln>
          <a:effectLst/>
        </c:spPr>
        <c:dLbl>
          <c:idx val="0"/>
          <c:layout>
            <c:manualLayout>
              <c:x val="1.478560867422375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2"/>
        <c:spPr>
          <a:solidFill>
            <a:schemeClr val="accent1"/>
          </a:solidFill>
          <a:ln>
            <a:noFill/>
          </a:ln>
          <a:effectLst/>
        </c:spPr>
        <c:dLbl>
          <c:idx val="0"/>
          <c:layout>
            <c:manualLayout>
              <c:x val="1.4785608674223755E-2"/>
              <c:y val="-6.0168457467889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3"/>
        <c:spPr>
          <a:solidFill>
            <a:schemeClr val="accent1"/>
          </a:solidFill>
          <a:ln>
            <a:noFill/>
          </a:ln>
          <a:effectLst/>
        </c:spPr>
        <c:dLbl>
          <c:idx val="0"/>
          <c:layout>
            <c:manualLayout>
              <c:x val="1.47856086742236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4"/>
        <c:spPr>
          <a:solidFill>
            <a:schemeClr val="accent1"/>
          </a:solidFill>
          <a:ln>
            <a:noFill/>
          </a:ln>
          <a:effectLst/>
        </c:spPr>
        <c:dLbl>
          <c:idx val="0"/>
          <c:layout>
            <c:manualLayout>
              <c:x val="1.3142763265976552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5"/>
        <c:spPr>
          <a:solidFill>
            <a:schemeClr val="accent1"/>
          </a:solidFill>
          <a:ln>
            <a:noFill/>
          </a:ln>
          <a:effectLst/>
        </c:spPr>
        <c:dLbl>
          <c:idx val="0"/>
          <c:layout>
            <c:manualLayout>
              <c:x val="9.857072449482503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6"/>
        <c:spPr>
          <a:solidFill>
            <a:schemeClr val="accent1"/>
          </a:solidFill>
          <a:ln>
            <a:noFill/>
          </a:ln>
          <a:effectLst/>
        </c:spPr>
        <c:dLbl>
          <c:idx val="0"/>
          <c:layout>
            <c:manualLayout>
              <c:x val="9.857072449482503E-3"/>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7"/>
        <c:spPr>
          <a:solidFill>
            <a:schemeClr val="accent1"/>
          </a:solidFill>
          <a:ln>
            <a:noFill/>
          </a:ln>
          <a:effectLst/>
        </c:spPr>
        <c:dLbl>
          <c:idx val="0"/>
          <c:layout>
            <c:manualLayout>
              <c:x val="1.3142763265976671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8"/>
        <c:spPr>
          <a:solidFill>
            <a:schemeClr val="accent1"/>
          </a:solidFill>
          <a:ln>
            <a:noFill/>
          </a:ln>
          <a:effectLst/>
        </c:spPr>
        <c:dLbl>
          <c:idx val="0"/>
          <c:layout>
            <c:manualLayout>
              <c:x val="1.31427632659765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0"/>
        <c:spPr>
          <a:solidFill>
            <a:schemeClr val="accent1"/>
          </a:solidFill>
          <a:ln>
            <a:noFill/>
          </a:ln>
          <a:effectLst/>
        </c:spPr>
        <c:dLbl>
          <c:idx val="0"/>
          <c:layout>
            <c:manualLayout>
              <c:x val="6.367398917542184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1"/>
        <c:spPr>
          <a:solidFill>
            <a:schemeClr val="accent1"/>
          </a:solidFill>
          <a:ln>
            <a:noFill/>
          </a:ln>
          <a:effectLst/>
        </c:spPr>
        <c:dLbl>
          <c:idx val="0"/>
          <c:layout>
            <c:manualLayout>
              <c:x val="1.4326647564469885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2"/>
        <c:spPr>
          <a:solidFill>
            <a:schemeClr val="accent1"/>
          </a:solidFill>
          <a:ln>
            <a:noFill/>
          </a:ln>
          <a:effectLst/>
        </c:spPr>
        <c:dLbl>
          <c:idx val="0"/>
          <c:layout>
            <c:manualLayout>
              <c:x val="9.5510983763132176E-3"/>
              <c:y val="6.0168457467888363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3"/>
        <c:spPr>
          <a:solidFill>
            <a:schemeClr val="accent1"/>
          </a:solidFill>
          <a:ln>
            <a:noFill/>
          </a:ln>
          <a:effectLst/>
        </c:spPr>
        <c:dLbl>
          <c:idx val="0"/>
          <c:layout>
            <c:manualLayout>
              <c:x val="9.5510983763132766E-3"/>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4"/>
        <c:spPr>
          <a:solidFill>
            <a:schemeClr val="accent1"/>
          </a:solidFill>
          <a:ln>
            <a:noFill/>
          </a:ln>
          <a:effectLst/>
        </c:spPr>
        <c:dLbl>
          <c:idx val="0"/>
          <c:layout>
            <c:manualLayout>
              <c:x val="1.4326647564469797E-2"/>
              <c:y val="1.203369149357767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5"/>
        <c:spPr>
          <a:solidFill>
            <a:schemeClr val="accent1"/>
          </a:solidFill>
          <a:ln>
            <a:noFill/>
          </a:ln>
          <a:effectLst/>
        </c:spPr>
        <c:dLbl>
          <c:idx val="0"/>
          <c:layout>
            <c:manualLayout>
              <c:x val="9.5510983763131586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6"/>
        <c:spPr>
          <a:solidFill>
            <a:schemeClr val="accent1"/>
          </a:solidFill>
          <a:ln>
            <a:noFill/>
          </a:ln>
          <a:effectLst/>
        </c:spPr>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9"/>
        <c:dLbl>
          <c:idx val="0"/>
          <c:layout>
            <c:manualLayout>
              <c:x val="1.2554927809165096E-2"/>
              <c:y val="3.008422873394432E-3"/>
            </c:manualLayout>
          </c:layout>
          <c:showLegendKey val="0"/>
          <c:showVal val="1"/>
          <c:showCatName val="0"/>
          <c:showSerName val="0"/>
          <c:showPercent val="0"/>
          <c:showBubbleSize val="0"/>
          <c:extLst>
            <c:ext xmlns:c15="http://schemas.microsoft.com/office/drawing/2012/chart" uri="{CE6537A1-D6FC-4f65-9D91-7224C49458BB}"/>
          </c:extLst>
        </c:dLbl>
      </c:pivotFmt>
      <c:pivotFmt>
        <c:idx val="220"/>
        <c:spPr>
          <a:solidFill>
            <a:schemeClr val="accent1"/>
          </a:solidFill>
          <a:ln>
            <a:noFill/>
          </a:ln>
          <a:effectLst/>
        </c:spPr>
        <c:dLbl>
          <c:idx val="0"/>
          <c:layout>
            <c:manualLayout>
              <c:x val="8.061265618702136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4"/>
        <c:spPr>
          <a:solidFill>
            <a:schemeClr val="accent3"/>
          </a:solidFill>
          <a:ln>
            <a:noFill/>
          </a:ln>
          <a:effectLst/>
        </c:spPr>
        <c:dLbl>
          <c:idx val="0"/>
          <c:layout>
            <c:manualLayout>
              <c:x val="1.0627798015889308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5"/>
        <c:spPr>
          <a:solidFill>
            <a:schemeClr val="accent3"/>
          </a:solidFill>
          <a:ln>
            <a:noFill/>
          </a:ln>
          <a:effectLst/>
        </c:spPr>
        <c:dLbl>
          <c:idx val="0"/>
          <c:layout>
            <c:manualLayout>
              <c:x val="1.0627798015889308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6"/>
        <c:spPr>
          <a:solidFill>
            <a:schemeClr val="accent3"/>
          </a:solidFill>
          <a:ln>
            <a:noFill/>
          </a:ln>
          <a:effectLst/>
        </c:spPr>
        <c:dLbl>
          <c:idx val="0"/>
          <c:layout>
            <c:manualLayout>
              <c:x val="7.591284297063810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7"/>
        <c:spPr>
          <a:solidFill>
            <a:schemeClr val="accent3"/>
          </a:solidFill>
          <a:ln>
            <a:noFill/>
          </a:ln>
          <a:effectLst/>
        </c:spPr>
        <c:dLbl>
          <c:idx val="0"/>
          <c:layout>
            <c:manualLayout>
              <c:x val="9.10954115647651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8"/>
        <c:spPr>
          <a:solidFill>
            <a:schemeClr val="accent3"/>
          </a:solidFill>
          <a:ln>
            <a:noFill/>
          </a:ln>
          <a:effectLst/>
        </c:spPr>
        <c:dLbl>
          <c:idx val="0"/>
          <c:layout>
            <c:manualLayout>
              <c:x val="1.366431173471491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9"/>
        <c:spPr>
          <a:solidFill>
            <a:schemeClr val="accent3"/>
          </a:solidFill>
          <a:ln>
            <a:noFill/>
          </a:ln>
          <a:effectLst/>
        </c:spPr>
        <c:dLbl>
          <c:idx val="0"/>
          <c:layout>
            <c:manualLayout>
              <c:x val="1.6700825453540385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0"/>
        <c:spPr>
          <a:solidFill>
            <a:schemeClr val="accent3"/>
          </a:solidFill>
          <a:ln>
            <a:noFill/>
          </a:ln>
          <a:effectLst/>
        </c:spPr>
        <c:dLbl>
          <c:idx val="0"/>
          <c:layout>
            <c:manualLayout>
              <c:x val="9.109541156476573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1"/>
        <c:spPr>
          <a:solidFill>
            <a:schemeClr val="accent3"/>
          </a:solidFill>
          <a:ln>
            <a:noFill/>
          </a:ln>
          <a:effectLst/>
        </c:spPr>
        <c:dLbl>
          <c:idx val="0"/>
          <c:layout>
            <c:manualLayout>
              <c:x val="1.3664311734714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2"/>
        <c:spPr>
          <a:solidFill>
            <a:schemeClr val="accent3"/>
          </a:solidFill>
          <a:ln>
            <a:noFill/>
          </a:ln>
          <a:effectLst/>
        </c:spPr>
        <c:dLbl>
          <c:idx val="0"/>
          <c:layout>
            <c:manualLayout>
              <c:x val="1.518256859412762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3"/>
        <c:spPr>
          <a:solidFill>
            <a:schemeClr val="accent3"/>
          </a:solidFill>
          <a:ln>
            <a:noFill/>
          </a:ln>
          <a:effectLst/>
        </c:spPr>
        <c:dLbl>
          <c:idx val="0"/>
          <c:layout>
            <c:manualLayout>
              <c:x val="1.36643117347146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7"/>
        <c:spPr>
          <a:solidFill>
            <a:schemeClr val="accent3"/>
          </a:solidFill>
          <a:ln>
            <a:noFill/>
          </a:ln>
          <a:effectLst/>
        </c:spPr>
        <c:dLbl>
          <c:idx val="0"/>
          <c:layout>
            <c:manualLayout>
              <c:x val="1.0627798015889308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8"/>
        <c:spPr>
          <a:solidFill>
            <a:schemeClr val="accent3"/>
          </a:solidFill>
          <a:ln>
            <a:noFill/>
          </a:ln>
          <a:effectLst/>
        </c:spPr>
        <c:dLbl>
          <c:idx val="0"/>
          <c:layout>
            <c:manualLayout>
              <c:x val="1.0627798015889308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9"/>
        <c:spPr>
          <a:solidFill>
            <a:schemeClr val="accent3"/>
          </a:solidFill>
          <a:ln>
            <a:noFill/>
          </a:ln>
          <a:effectLst/>
        </c:spPr>
        <c:dLbl>
          <c:idx val="0"/>
          <c:layout>
            <c:manualLayout>
              <c:x val="7.591284297063810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0"/>
        <c:spPr>
          <a:solidFill>
            <a:schemeClr val="accent3"/>
          </a:solidFill>
          <a:ln>
            <a:noFill/>
          </a:ln>
          <a:effectLst/>
        </c:spPr>
        <c:dLbl>
          <c:idx val="0"/>
          <c:layout>
            <c:manualLayout>
              <c:x val="9.10954115647651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1"/>
        <c:spPr>
          <a:solidFill>
            <a:schemeClr val="accent3"/>
          </a:solidFill>
          <a:ln>
            <a:noFill/>
          </a:ln>
          <a:effectLst/>
        </c:spPr>
        <c:dLbl>
          <c:idx val="0"/>
          <c:layout>
            <c:manualLayout>
              <c:x val="1.366431173471491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2"/>
        <c:spPr>
          <a:solidFill>
            <a:schemeClr val="accent3"/>
          </a:solidFill>
          <a:ln>
            <a:noFill/>
          </a:ln>
          <a:effectLst/>
        </c:spPr>
        <c:dLbl>
          <c:idx val="0"/>
          <c:layout>
            <c:manualLayout>
              <c:x val="1.6700825453540385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3"/>
        <c:spPr>
          <a:solidFill>
            <a:schemeClr val="accent3"/>
          </a:solidFill>
          <a:ln>
            <a:noFill/>
          </a:ln>
          <a:effectLst/>
        </c:spPr>
        <c:dLbl>
          <c:idx val="0"/>
          <c:layout>
            <c:manualLayout>
              <c:x val="9.109541156476573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4"/>
        <c:spPr>
          <a:solidFill>
            <a:schemeClr val="accent3"/>
          </a:solidFill>
          <a:ln>
            <a:noFill/>
          </a:ln>
          <a:effectLst/>
        </c:spPr>
        <c:dLbl>
          <c:idx val="0"/>
          <c:layout>
            <c:manualLayout>
              <c:x val="1.3664311734714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5"/>
        <c:spPr>
          <a:solidFill>
            <a:schemeClr val="accent3"/>
          </a:solidFill>
          <a:ln>
            <a:noFill/>
          </a:ln>
          <a:effectLst/>
        </c:spPr>
        <c:dLbl>
          <c:idx val="0"/>
          <c:layout>
            <c:manualLayout>
              <c:x val="1.518256859412762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6"/>
        <c:spPr>
          <a:solidFill>
            <a:schemeClr val="accent3"/>
          </a:solidFill>
          <a:ln>
            <a:noFill/>
          </a:ln>
          <a:effectLst/>
        </c:spPr>
        <c:dLbl>
          <c:idx val="0"/>
          <c:layout>
            <c:manualLayout>
              <c:x val="1.36643117347146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2022!$B$3:$B$4</c:f>
              <c:strCache>
                <c:ptCount val="1"/>
                <c:pt idx="0">
                  <c:v>1. Norge</c:v>
                </c:pt>
              </c:strCache>
            </c:strRef>
          </c:tx>
          <c:spPr>
            <a:solidFill>
              <a:schemeClr val="accent1"/>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B$5:$B$16</c:f>
              <c:numCache>
                <c:formatCode>0.0\ %</c:formatCode>
                <c:ptCount val="11"/>
                <c:pt idx="0">
                  <c:v>8.1000000000000003E-2</c:v>
                </c:pt>
                <c:pt idx="1">
                  <c:v>8.8000000000000009E-2</c:v>
                </c:pt>
                <c:pt idx="2">
                  <c:v>9.1999999999999998E-2</c:v>
                </c:pt>
                <c:pt idx="3">
                  <c:v>9.5000000000000001E-2</c:v>
                </c:pt>
                <c:pt idx="4">
                  <c:v>9.6000000000000002E-2</c:v>
                </c:pt>
                <c:pt idx="5">
                  <c:v>9.8000000000000004E-2</c:v>
                </c:pt>
                <c:pt idx="6">
                  <c:v>0.1</c:v>
                </c:pt>
                <c:pt idx="7">
                  <c:v>0.10199999999999999</c:v>
                </c:pt>
                <c:pt idx="8">
                  <c:v>0.10199999999999999</c:v>
                </c:pt>
                <c:pt idx="9">
                  <c:v>0.10099999999999999</c:v>
                </c:pt>
                <c:pt idx="10">
                  <c:v>9.8000000000000004E-2</c:v>
                </c:pt>
              </c:numCache>
            </c:numRef>
          </c:val>
          <c:extLst>
            <c:ext xmlns:c16="http://schemas.microsoft.com/office/drawing/2014/chart" uri="{C3380CC4-5D6E-409C-BE32-E72D297353CC}">
              <c16:uniqueId val="{00000000-E892-4428-969E-E23EDE1D7C3E}"/>
            </c:ext>
          </c:extLst>
        </c:ser>
        <c:ser>
          <c:idx val="1"/>
          <c:order val="1"/>
          <c:tx>
            <c:strRef>
              <c:f>Pivot_2022!$C$3:$C$4</c:f>
              <c:strCache>
                <c:ptCount val="1"/>
                <c:pt idx="0">
                  <c:v>2. Agder</c:v>
                </c:pt>
              </c:strCache>
            </c:strRef>
          </c:tx>
          <c:spPr>
            <a:solidFill>
              <a:schemeClr val="accent2"/>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C$5:$C$16</c:f>
              <c:numCache>
                <c:formatCode>0.0\ %</c:formatCode>
                <c:ptCount val="11"/>
                <c:pt idx="0">
                  <c:v>8.4000000000000005E-2</c:v>
                </c:pt>
                <c:pt idx="1">
                  <c:v>9.1999999999999998E-2</c:v>
                </c:pt>
                <c:pt idx="2">
                  <c:v>9.6000000000000002E-2</c:v>
                </c:pt>
                <c:pt idx="3">
                  <c:v>0.1</c:v>
                </c:pt>
                <c:pt idx="4">
                  <c:v>0.10300000000000001</c:v>
                </c:pt>
                <c:pt idx="5">
                  <c:v>0.107</c:v>
                </c:pt>
                <c:pt idx="6">
                  <c:v>0.111</c:v>
                </c:pt>
                <c:pt idx="7">
                  <c:v>0.115</c:v>
                </c:pt>
                <c:pt idx="8">
                  <c:v>0.115</c:v>
                </c:pt>
                <c:pt idx="9">
                  <c:v>0.114</c:v>
                </c:pt>
                <c:pt idx="10">
                  <c:v>0.111</c:v>
                </c:pt>
              </c:numCache>
            </c:numRef>
          </c:val>
          <c:extLst>
            <c:ext xmlns:c16="http://schemas.microsoft.com/office/drawing/2014/chart" uri="{C3380CC4-5D6E-409C-BE32-E72D297353CC}">
              <c16:uniqueId val="{00000001-E892-4428-969E-E23EDE1D7C3E}"/>
            </c:ext>
          </c:extLst>
        </c:ser>
        <c:ser>
          <c:idx val="2"/>
          <c:order val="2"/>
          <c:tx>
            <c:strRef>
              <c:f>Pivot_2022!$D$3:$D$4</c:f>
              <c:strCache>
                <c:ptCount val="1"/>
                <c:pt idx="0">
                  <c:v>Flekkefjord</c:v>
                </c:pt>
              </c:strCache>
            </c:strRef>
          </c:tx>
          <c:spPr>
            <a:solidFill>
              <a:schemeClr val="accent3"/>
            </a:solidFill>
            <a:ln>
              <a:noFill/>
            </a:ln>
            <a:effectLst/>
          </c:spPr>
          <c:invertIfNegative val="0"/>
          <c:dLbls>
            <c:dLbl>
              <c:idx val="0"/>
              <c:layout>
                <c:manualLayout>
                  <c:x val="1.0627798015889308E-2"/>
                  <c:y val="-5.9794901628469725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892-4428-969E-E23EDE1D7C3E}"/>
                </c:ext>
              </c:extLst>
            </c:dLbl>
            <c:dLbl>
              <c:idx val="1"/>
              <c:layout>
                <c:manualLayout>
                  <c:x val="1.0627798015889308E-2"/>
                  <c:y val="-6.523155532830091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892-4428-969E-E23EDE1D7C3E}"/>
                </c:ext>
              </c:extLst>
            </c:dLbl>
            <c:dLbl>
              <c:idx val="2"/>
              <c:layout>
                <c:manualLayout>
                  <c:x val="7.5912842970638104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892-4428-969E-E23EDE1D7C3E}"/>
                </c:ext>
              </c:extLst>
            </c:dLbl>
            <c:dLbl>
              <c:idx val="3"/>
              <c:layout>
                <c:manualLayout>
                  <c:x val="9.10954115647651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892-4428-969E-E23EDE1D7C3E}"/>
                </c:ext>
              </c:extLst>
            </c:dLbl>
            <c:dLbl>
              <c:idx val="4"/>
              <c:layout>
                <c:manualLayout>
                  <c:x val="1.3664311734714916E-2"/>
                  <c:y val="-5.9794901628469725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892-4428-969E-E23EDE1D7C3E}"/>
                </c:ext>
              </c:extLst>
            </c:dLbl>
            <c:dLbl>
              <c:idx val="5"/>
              <c:layout>
                <c:manualLayout>
                  <c:x val="1.6700825453540385E-2"/>
                  <c:y val="-5.9794901628469725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892-4428-969E-E23EDE1D7C3E}"/>
                </c:ext>
              </c:extLst>
            </c:dLbl>
            <c:dLbl>
              <c:idx val="6"/>
              <c:layout>
                <c:manualLayout>
                  <c:x val="9.109541156476573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892-4428-969E-E23EDE1D7C3E}"/>
                </c:ext>
              </c:extLst>
            </c:dLbl>
            <c:dLbl>
              <c:idx val="7"/>
              <c:layout>
                <c:manualLayout>
                  <c:x val="1.366431173471485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892-4428-969E-E23EDE1D7C3E}"/>
                </c:ext>
              </c:extLst>
            </c:dLbl>
            <c:dLbl>
              <c:idx val="8"/>
              <c:layout>
                <c:manualLayout>
                  <c:x val="1.518256859412762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892-4428-969E-E23EDE1D7C3E}"/>
                </c:ext>
              </c:extLst>
            </c:dLbl>
            <c:dLbl>
              <c:idx val="9"/>
              <c:layout>
                <c:manualLayout>
                  <c:x val="1.366431173471463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892-4428-969E-E23EDE1D7C3E}"/>
                </c:ext>
              </c:extLst>
            </c:dLbl>
            <c:dLbl>
              <c:idx val="10"/>
              <c:layout>
                <c:manualLayout>
                  <c:x val="1.6122531237404272E-2"/>
                  <c:y val="-1.43122910349161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E892-4428-969E-E23EDE1D7C3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D$5:$D$16</c:f>
              <c:numCache>
                <c:formatCode>0.0\ %</c:formatCode>
                <c:ptCount val="11"/>
                <c:pt idx="0">
                  <c:v>7.2000000000000008E-2</c:v>
                </c:pt>
                <c:pt idx="1">
                  <c:v>7.5999999999999998E-2</c:v>
                </c:pt>
                <c:pt idx="2">
                  <c:v>7.400000000000001E-2</c:v>
                </c:pt>
                <c:pt idx="3">
                  <c:v>7.2999999999999995E-2</c:v>
                </c:pt>
                <c:pt idx="4">
                  <c:v>7.8E-2</c:v>
                </c:pt>
                <c:pt idx="5">
                  <c:v>8.3000000000000004E-2</c:v>
                </c:pt>
                <c:pt idx="6">
                  <c:v>9.3000000000000013E-2</c:v>
                </c:pt>
                <c:pt idx="7">
                  <c:v>9.9000000000000005E-2</c:v>
                </c:pt>
                <c:pt idx="8">
                  <c:v>0.10099999999999999</c:v>
                </c:pt>
                <c:pt idx="9">
                  <c:v>0.10099999999999999</c:v>
                </c:pt>
                <c:pt idx="10">
                  <c:v>9.4E-2</c:v>
                </c:pt>
              </c:numCache>
            </c:numRef>
          </c:val>
          <c:extLst>
            <c:ext xmlns:c16="http://schemas.microsoft.com/office/drawing/2014/chart" uri="{C3380CC4-5D6E-409C-BE32-E72D297353CC}">
              <c16:uniqueId val="{0000000C-E892-4428-969E-E23EDE1D7C3E}"/>
            </c:ext>
          </c:extLst>
        </c:ser>
        <c:dLbls>
          <c:showLegendKey val="0"/>
          <c:showVal val="0"/>
          <c:showCatName val="0"/>
          <c:showSerName val="0"/>
          <c:showPercent val="0"/>
          <c:showBubbleSize val="0"/>
        </c:dLbls>
        <c:gapWidth val="219"/>
        <c:overlap val="-27"/>
        <c:axId val="1470036095"/>
        <c:axId val="1569560879"/>
      </c:barChart>
      <c:catAx>
        <c:axId val="14700360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60879"/>
        <c:crosses val="autoZero"/>
        <c:auto val="1"/>
        <c:lblAlgn val="ctr"/>
        <c:lblOffset val="100"/>
        <c:noMultiLvlLbl val="0"/>
      </c:catAx>
      <c:valAx>
        <c:axId val="15695608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470036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Pivot 5-åringer!Pivottabell2</c:name>
    <c:fmtId val="164"/>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5-åringer'!$B$3</c:f>
              <c:strCache>
                <c:ptCount val="1"/>
                <c:pt idx="0">
                  <c:v>Totalt</c:v>
                </c:pt>
              </c:strCache>
            </c:strRef>
          </c:tx>
          <c:spPr>
            <a:ln w="28575" cap="rnd">
              <a:solidFill>
                <a:schemeClr val="accent1"/>
              </a:solidFill>
              <a:round/>
            </a:ln>
            <a:effectLst/>
          </c:spPr>
          <c:marker>
            <c:symbol val="none"/>
          </c:marker>
          <c:cat>
            <c:strRef>
              <c:f>'Pivot 5-åringer'!$A$4:$A$26</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Pivot 5-åringer'!$B$4:$B$26</c:f>
              <c:numCache>
                <c:formatCode>General</c:formatCode>
                <c:ptCount val="22"/>
                <c:pt idx="0">
                  <c:v>122</c:v>
                </c:pt>
                <c:pt idx="1">
                  <c:v>124</c:v>
                </c:pt>
                <c:pt idx="2">
                  <c:v>98</c:v>
                </c:pt>
                <c:pt idx="3">
                  <c:v>112</c:v>
                </c:pt>
                <c:pt idx="4">
                  <c:v>94</c:v>
                </c:pt>
                <c:pt idx="5">
                  <c:v>102</c:v>
                </c:pt>
                <c:pt idx="6">
                  <c:v>102</c:v>
                </c:pt>
                <c:pt idx="7">
                  <c:v>107</c:v>
                </c:pt>
                <c:pt idx="8">
                  <c:v>100</c:v>
                </c:pt>
                <c:pt idx="9">
                  <c:v>112</c:v>
                </c:pt>
                <c:pt idx="10">
                  <c:v>109</c:v>
                </c:pt>
                <c:pt idx="11">
                  <c:v>104</c:v>
                </c:pt>
                <c:pt idx="12">
                  <c:v>122</c:v>
                </c:pt>
                <c:pt idx="13">
                  <c:v>117</c:v>
                </c:pt>
                <c:pt idx="14">
                  <c:v>118</c:v>
                </c:pt>
                <c:pt idx="15">
                  <c:v>94</c:v>
                </c:pt>
                <c:pt idx="16">
                  <c:v>132</c:v>
                </c:pt>
                <c:pt idx="17">
                  <c:v>108</c:v>
                </c:pt>
                <c:pt idx="18">
                  <c:v>94</c:v>
                </c:pt>
                <c:pt idx="19">
                  <c:v>99</c:v>
                </c:pt>
                <c:pt idx="20">
                  <c:v>92</c:v>
                </c:pt>
                <c:pt idx="21">
                  <c:v>91</c:v>
                </c:pt>
              </c:numCache>
            </c:numRef>
          </c:val>
          <c:smooth val="0"/>
          <c:extLst>
            <c:ext xmlns:c16="http://schemas.microsoft.com/office/drawing/2014/chart" uri="{C3380CC4-5D6E-409C-BE32-E72D297353CC}">
              <c16:uniqueId val="{00000000-E2F6-47F9-95D8-BD98024DB6CA}"/>
            </c:ext>
          </c:extLst>
        </c:ser>
        <c:dLbls>
          <c:showLegendKey val="0"/>
          <c:showVal val="0"/>
          <c:showCatName val="0"/>
          <c:showSerName val="0"/>
          <c:showPercent val="0"/>
          <c:showBubbleSize val="0"/>
        </c:dLbls>
        <c:smooth val="0"/>
        <c:axId val="659781352"/>
        <c:axId val="659782664"/>
      </c:lineChart>
      <c:catAx>
        <c:axId val="659781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2664"/>
        <c:crosses val="autoZero"/>
        <c:auto val="1"/>
        <c:lblAlgn val="ctr"/>
        <c:lblOffset val="100"/>
        <c:noMultiLvlLbl val="0"/>
      </c:catAx>
      <c:valAx>
        <c:axId val="659782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135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44"/>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del 5-åringer med feilfrie tenner</a:t>
            </a:r>
          </a:p>
        </c:rich>
      </c:tx>
      <c:layout>
        <c:manualLayout>
          <c:xMode val="edge"/>
          <c:yMode val="edge"/>
          <c:x val="0.28760480175087832"/>
          <c:y val="8.062552455001513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Andel 5-åringer med feilfrie tenn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49</c:v>
                </c:pt>
                <c:pt idx="1">
                  <c:v>64</c:v>
                </c:pt>
                <c:pt idx="2">
                  <c:v>35</c:v>
                </c:pt>
                <c:pt idx="3">
                  <c:v>69</c:v>
                </c:pt>
                <c:pt idx="4">
                  <c:v>56</c:v>
                </c:pt>
                <c:pt idx="5">
                  <c:v>78</c:v>
                </c:pt>
                <c:pt idx="6">
                  <c:v>74</c:v>
                </c:pt>
                <c:pt idx="7">
                  <c:v>77</c:v>
                </c:pt>
                <c:pt idx="8">
                  <c:v>77</c:v>
                </c:pt>
                <c:pt idx="9">
                  <c:v>77</c:v>
                </c:pt>
                <c:pt idx="10">
                  <c:v>81</c:v>
                </c:pt>
                <c:pt idx="11">
                  <c:v>78</c:v>
                </c:pt>
                <c:pt idx="12">
                  <c:v>82</c:v>
                </c:pt>
                <c:pt idx="13">
                  <c:v>86</c:v>
                </c:pt>
                <c:pt idx="14">
                  <c:v>79</c:v>
                </c:pt>
                <c:pt idx="15">
                  <c:v>81</c:v>
                </c:pt>
                <c:pt idx="16">
                  <c:v>89</c:v>
                </c:pt>
                <c:pt idx="17">
                  <c:v>66.7</c:v>
                </c:pt>
                <c:pt idx="18">
                  <c:v>58</c:v>
                </c:pt>
                <c:pt idx="19">
                  <c:v>77</c:v>
                </c:pt>
                <c:pt idx="20">
                  <c:v>74</c:v>
                </c:pt>
              </c:numCache>
            </c:numRef>
          </c:val>
          <c:extLst>
            <c:ext xmlns:c16="http://schemas.microsoft.com/office/drawing/2014/chart" uri="{C3380CC4-5D6E-409C-BE32-E72D297353CC}">
              <c16:uniqueId val="{00000000-055B-45E6-B03A-EE89929864C4}"/>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47"/>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ysClr val="windowText" lastClr="000000"/>
                </a:solidFill>
                <a:latin typeface="Arial" panose="020B0604020202020204" pitchFamily="34" charset="0"/>
                <a:cs typeface="Arial" panose="020B0604020202020204" pitchFamily="34" charset="0"/>
              </a:rPr>
              <a:t>Antall tenner med fylling eller hull -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Tenner med fylling eller hull - 5 åring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1.7</c:v>
                </c:pt>
                <c:pt idx="1">
                  <c:v>1.8</c:v>
                </c:pt>
                <c:pt idx="2">
                  <c:v>2.8</c:v>
                </c:pt>
                <c:pt idx="3">
                  <c:v>1.3</c:v>
                </c:pt>
                <c:pt idx="4">
                  <c:v>0.9</c:v>
                </c:pt>
                <c:pt idx="5">
                  <c:v>0.58536585365853655</c:v>
                </c:pt>
                <c:pt idx="6">
                  <c:v>0.7857142857142857</c:v>
                </c:pt>
                <c:pt idx="7">
                  <c:v>1.0701754385964912</c:v>
                </c:pt>
                <c:pt idx="8">
                  <c:v>0.546875</c:v>
                </c:pt>
                <c:pt idx="9">
                  <c:v>0.87912087912087911</c:v>
                </c:pt>
                <c:pt idx="10">
                  <c:v>0.7</c:v>
                </c:pt>
                <c:pt idx="11">
                  <c:v>0.7</c:v>
                </c:pt>
                <c:pt idx="12">
                  <c:v>0.5</c:v>
                </c:pt>
                <c:pt idx="13">
                  <c:v>0.4</c:v>
                </c:pt>
                <c:pt idx="14">
                  <c:v>0.6</c:v>
                </c:pt>
                <c:pt idx="15">
                  <c:v>0.8</c:v>
                </c:pt>
                <c:pt idx="16">
                  <c:v>0.4</c:v>
                </c:pt>
                <c:pt idx="17">
                  <c:v>0.7</c:v>
                </c:pt>
                <c:pt idx="18">
                  <c:v>1.9</c:v>
                </c:pt>
                <c:pt idx="19">
                  <c:v>0.6</c:v>
                </c:pt>
                <c:pt idx="20">
                  <c:v>1.5</c:v>
                </c:pt>
              </c:numCache>
            </c:numRef>
          </c:val>
          <c:extLst>
            <c:ext xmlns:c16="http://schemas.microsoft.com/office/drawing/2014/chart" uri="{C3380CC4-5D6E-409C-BE32-E72D297353CC}">
              <c16:uniqueId val="{00000000-3D03-4C05-960F-9F4A3A8D551F}"/>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Referansebaner Agder 2024.xlsx]4. Pivot!Pivottabell4</c:name>
    <c:fmtId val="61"/>
  </c:pivotSource>
  <c:chart>
    <c:title>
      <c:tx>
        <c:strRef>
          <c:f>'4. Pivot'!$B$2</c:f>
          <c:strCache>
            <c:ptCount val="1"/>
            <c:pt idx="0">
              <c:v>Flekkefjord</c:v>
            </c:pt>
          </c:strCache>
        </c:strRef>
      </c:tx>
      <c:overlay val="0"/>
      <c:spPr>
        <a:noFill/>
        <a:ln>
          <a:noFill/>
        </a:ln>
        <a:effectLst/>
      </c:spPr>
      <c:txPr>
        <a:bodyPr rot="0" spcFirstLastPara="1" vertOverflow="ellipsis" vert="horz" wrap="square" anchor="ctr" anchorCtr="1"/>
        <a:lstStyle/>
        <a:p>
          <a:pPr>
            <a:defRPr sz="126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704411804680916"/>
          <c:y val="0.1467601227132351"/>
          <c:w val="0.82523630550500837"/>
          <c:h val="0.69792258060669199"/>
        </c:manualLayout>
      </c:layout>
      <c:lineChart>
        <c:grouping val="standard"/>
        <c:varyColors val="0"/>
        <c:ser>
          <c:idx val="0"/>
          <c:order val="0"/>
          <c:tx>
            <c:strRef>
              <c:f>'4. Pivot'!$B$4:$B$5</c:f>
              <c:strCache>
                <c:ptCount val="1"/>
                <c:pt idx="0">
                  <c:v>Historisk</c:v>
                </c:pt>
              </c:strCache>
            </c:strRef>
          </c:tx>
          <c:spPr>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0</c:formatCode>
                <c:ptCount val="22"/>
                <c:pt idx="0">
                  <c:v>52628.547995934139</c:v>
                </c:pt>
                <c:pt idx="1">
                  <c:v>54045.750177892362</c:v>
                </c:pt>
                <c:pt idx="2">
                  <c:v>55462.952359850577</c:v>
                </c:pt>
                <c:pt idx="3">
                  <c:v>55315.402790485954</c:v>
                </c:pt>
                <c:pt idx="4">
                  <c:v>55167.853221121339</c:v>
                </c:pt>
                <c:pt idx="5">
                  <c:v>54829.607970411394</c:v>
                </c:pt>
                <c:pt idx="6">
                  <c:v>54491.362719701443</c:v>
                </c:pt>
                <c:pt idx="7">
                  <c:v>49769.692384291571</c:v>
                </c:pt>
                <c:pt idx="8">
                  <c:v>50883.538843969196</c:v>
                </c:pt>
                <c:pt idx="9">
                  <c:v>56945.887130420684</c:v>
                </c:pt>
                <c:pt idx="10">
                  <c:v>55763.950047609971</c:v>
                </c:pt>
                <c:pt idx="11">
                  <c:v>55673.282644406332</c:v>
                </c:pt>
                <c:pt idx="12">
                  <c:v>53905.780238894025</c:v>
                </c:pt>
                <c:pt idx="13">
                  <c:v>53668.977869251379</c:v>
                </c:pt>
              </c:numCache>
            </c:numRef>
          </c:val>
          <c:smooth val="0"/>
          <c:extLst>
            <c:ext xmlns:c16="http://schemas.microsoft.com/office/drawing/2014/chart" uri="{C3380CC4-5D6E-409C-BE32-E72D297353CC}">
              <c16:uniqueId val="{00000000-9CF0-44E8-9ACB-A0DADB96D594}"/>
            </c:ext>
          </c:extLst>
        </c:ser>
        <c:ser>
          <c:idx val="1"/>
          <c:order val="1"/>
          <c:tx>
            <c:strRef>
              <c:f>'4. Pivot'!$C$4:$C$5</c:f>
              <c:strCache>
                <c:ptCount val="1"/>
                <c:pt idx="0">
                  <c:v>Referansebane</c:v>
                </c:pt>
              </c:strCache>
            </c:strRef>
          </c:tx>
          <c:spPr>
            <a:ln w="28575" cap="rnd">
              <a:solidFill>
                <a:schemeClr val="accent2">
                  <a:lumMod val="75000"/>
                </a:schemeClr>
              </a:solidFill>
              <a:prstDash val="sysDash"/>
              <a:round/>
            </a:ln>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13" formatCode="#,##0">
                  <c:v>53668.977869251379</c:v>
                </c:pt>
                <c:pt idx="14" formatCode="#,##0">
                  <c:v>49886.484540071957</c:v>
                </c:pt>
                <c:pt idx="15" formatCode="#,##0">
                  <c:v>48589.2959512909</c:v>
                </c:pt>
                <c:pt idx="16" formatCode="#,##0">
                  <c:v>47002.875534430335</c:v>
                </c:pt>
                <c:pt idx="17" formatCode="#,##0">
                  <c:v>46070.102603267587</c:v>
                </c:pt>
                <c:pt idx="18" formatCode="#,##0">
                  <c:v>44772.914014486531</c:v>
                </c:pt>
                <c:pt idx="19" formatCode="#,##0">
                  <c:v>43589.725511243065</c:v>
                </c:pt>
                <c:pt idx="20" formatCode="#,##0">
                  <c:v>43225.899097723021</c:v>
                </c:pt>
                <c:pt idx="21" formatCode="#,##0">
                  <c:v>41928.710508941964</c:v>
                </c:pt>
              </c:numCache>
            </c:numRef>
          </c:val>
          <c:smooth val="0"/>
          <c:extLst>
            <c:ext xmlns:c16="http://schemas.microsoft.com/office/drawing/2014/chart" uri="{C3380CC4-5D6E-409C-BE32-E72D297353CC}">
              <c16:uniqueId val="{00000001-9CF0-44E8-9ACB-A0DADB96D594}"/>
            </c:ext>
          </c:extLst>
        </c:ser>
        <c:dLbls>
          <c:showLegendKey val="0"/>
          <c:showVal val="0"/>
          <c:showCatName val="0"/>
          <c:showSerName val="0"/>
          <c:showPercent val="0"/>
          <c:showBubbleSize val="0"/>
        </c:dLbls>
        <c:smooth val="0"/>
        <c:axId val="2083110303"/>
        <c:axId val="1078387056"/>
      </c:lineChart>
      <c:catAx>
        <c:axId val="2083110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78387056"/>
        <c:crosses val="autoZero"/>
        <c:auto val="1"/>
        <c:lblAlgn val="ctr"/>
        <c:lblOffset val="100"/>
        <c:noMultiLvlLbl val="0"/>
      </c:catAx>
      <c:valAx>
        <c:axId val="1078387056"/>
        <c:scaling>
          <c:orientation val="minMax"/>
        </c:scaling>
        <c:delete val="0"/>
        <c:axPos val="l"/>
        <c:majorGridlines>
          <c:spPr>
            <a:ln w="9525" cap="flat" cmpd="sng" algn="ctr">
              <a:solidFill>
                <a:schemeClr val="tx1">
                  <a:lumMod val="15000"/>
                  <a:lumOff val="85000"/>
                </a:schemeClr>
              </a:solidFill>
              <a:round/>
            </a:ln>
            <a:effectLst/>
          </c:spPr>
        </c:majorGridlines>
        <c:title>
          <c:tx>
            <c:strRef>
              <c:f>'4. Pivot'!$B$1</c:f>
              <c:strCache>
                <c:ptCount val="1"/>
                <c:pt idx="0">
                  <c:v>Inklusive kvotepliktig</c:v>
                </c:pt>
              </c:strCache>
            </c:strRef>
          </c:tx>
          <c:overlay val="0"/>
          <c:spPr>
            <a:noFill/>
            <a:ln>
              <a:noFill/>
            </a:ln>
            <a:effectLst/>
          </c:spPr>
          <c:txPr>
            <a:bodyPr rot="-54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20831103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nb-NO"/>
    </a:p>
  </c:txPr>
  <c:externalData r:id="rId4">
    <c:autoUpdate val="0"/>
  </c:externalData>
  <c:extLst>
    <c:ext xmlns:c14="http://schemas.microsoft.com/office/drawing/2007/8/2/chart" uri="{781A3756-C4B2-4CAC-9D66-4F8BD8637D16}">
      <c14:pivotOptions>
        <c14:dropZoneFilter val="1"/>
        <c14:dropZoneCategories val="1"/>
        <c14:dropZoneSeries val="1"/>
      </c14:pivotOptions>
    </c:ext>
    <c:ext xmlns:c16="http://schemas.microsoft.com/office/drawing/2014/chart" uri="{E28EC0CA-F0BB-4C9C-879D-F8772B89E7AC}">
      <c16:pivotOptions16>
        <c16:showExpandCollapseFieldButtons val="1"/>
      </c16:pivotOptions16>
    </c:ext>
  </c:extLst>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754E-41FE-8AEB-8F56E3F4B4A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2.4795381847234361E-2</c:v>
                </c:pt>
                <c:pt idx="1">
                  <c:v>0</c:v>
                </c:pt>
                <c:pt idx="2" formatCode="###0.000\ %_ ;_*\-###0.000\ %_ ;_*&quot;-&quot;">
                  <c:v>0</c:v>
                </c:pt>
                <c:pt idx="3">
                  <c:v>0.9021551484100907</c:v>
                </c:pt>
                <c:pt idx="4">
                  <c:v>0.91898251912883222</c:v>
                </c:pt>
                <c:pt idx="5">
                  <c:v>0.44437336142076905</c:v>
                </c:pt>
              </c:numCache>
            </c:numRef>
          </c:val>
          <c:extLst>
            <c:ext xmlns:c16="http://schemas.microsoft.com/office/drawing/2014/chart" uri="{C3380CC4-5D6E-409C-BE32-E72D297353CC}">
              <c16:uniqueId val="{00000001-754E-41FE-8AEB-8F56E3F4B4A4}"/>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2-754E-41FE-8AEB-8F56E3F4B4A4}"/>
                </c:ext>
              </c:extLst>
            </c:dLbl>
            <c:dLbl>
              <c:idx val="2"/>
              <c:delete val="1"/>
              <c:extLst>
                <c:ext xmlns:c15="http://schemas.microsoft.com/office/drawing/2012/chart" uri="{CE6537A1-D6FC-4f65-9D91-7224C49458BB}"/>
                <c:ext xmlns:c16="http://schemas.microsoft.com/office/drawing/2014/chart" uri="{C3380CC4-5D6E-409C-BE32-E72D297353CC}">
                  <c16:uniqueId val="{00000003-754E-41FE-8AEB-8F56E3F4B4A4}"/>
                </c:ext>
              </c:extLst>
            </c:dLbl>
            <c:dLbl>
              <c:idx val="3"/>
              <c:delete val="1"/>
              <c:extLst>
                <c:ext xmlns:c15="http://schemas.microsoft.com/office/drawing/2012/chart" uri="{CE6537A1-D6FC-4f65-9D91-7224C49458BB}"/>
                <c:ext xmlns:c16="http://schemas.microsoft.com/office/drawing/2014/chart" uri="{C3380CC4-5D6E-409C-BE32-E72D297353CC}">
                  <c16:uniqueId val="{00000004-754E-41FE-8AEB-8F56E3F4B4A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2989614288383677</c:v>
                </c:pt>
                <c:pt idx="1">
                  <c:v>0</c:v>
                </c:pt>
                <c:pt idx="2">
                  <c:v>0</c:v>
                </c:pt>
                <c:pt idx="3">
                  <c:v>0</c:v>
                </c:pt>
                <c:pt idx="4">
                  <c:v>7.868930656695701E-2</c:v>
                </c:pt>
                <c:pt idx="5">
                  <c:v>6.7935362622954673E-2</c:v>
                </c:pt>
              </c:numCache>
            </c:numRef>
          </c:val>
          <c:extLst>
            <c:ext xmlns:c16="http://schemas.microsoft.com/office/drawing/2014/chart" uri="{C3380CC4-5D6E-409C-BE32-E72D297353CC}">
              <c16:uniqueId val="{00000005-754E-41FE-8AEB-8F56E3F4B4A4}"/>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dLbl>
              <c:idx val="4"/>
              <c:delete val="1"/>
              <c:extLst>
                <c:ext xmlns:c15="http://schemas.microsoft.com/office/drawing/2012/chart" uri="{CE6537A1-D6FC-4f65-9D91-7224C49458BB}"/>
                <c:ext xmlns:c16="http://schemas.microsoft.com/office/drawing/2014/chart" uri="{C3380CC4-5D6E-409C-BE32-E72D297353CC}">
                  <c16:uniqueId val="{00000007-754E-41FE-8AEB-8F56E3F4B4A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4530847526892894</c:v>
                </c:pt>
                <c:pt idx="1">
                  <c:v>1</c:v>
                </c:pt>
                <c:pt idx="2">
                  <c:v>1</c:v>
                </c:pt>
                <c:pt idx="3">
                  <c:v>9.7844851589909229E-2</c:v>
                </c:pt>
                <c:pt idx="4">
                  <c:v>2.3281743042108567E-3</c:v>
                </c:pt>
                <c:pt idx="5">
                  <c:v>0.48769127595627632</c:v>
                </c:pt>
              </c:numCache>
            </c:numRef>
          </c:val>
          <c:extLst>
            <c:ext xmlns:c16="http://schemas.microsoft.com/office/drawing/2014/chart" uri="{C3380CC4-5D6E-409C-BE32-E72D297353CC}">
              <c16:uniqueId val="{00000006-754E-41FE-8AEB-8F56E3F4B4A4}"/>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rnet areal innenfor hver kommune i</a:t>
            </a:r>
            <a:r>
              <a:rPr lang="nb-NO" baseline="0">
                <a:solidFill>
                  <a:sysClr val="windowText" lastClr="000000"/>
                </a:solidFill>
                <a:latin typeface="Arial" panose="020B0604020202020204" pitchFamily="34" charset="0"/>
                <a:cs typeface="Arial" panose="020B0604020202020204" pitchFamily="34" charset="0"/>
              </a:rPr>
              <a:t> Agder</a:t>
            </a:r>
            <a:endParaRPr lang="nb-NO">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lotArea>
      <c:layout/>
      <c:barChart>
        <c:barDir val="col"/>
        <c:grouping val="clustered"/>
        <c:varyColors val="0"/>
        <c:ser>
          <c:idx val="0"/>
          <c:order val="0"/>
          <c:tx>
            <c:strRef>
              <c:f>'[Naturvernområde_Agder__Union_TableToExcel.xlsx]Andel vernet'!$C$1</c:f>
              <c:strCache>
                <c:ptCount val="1"/>
                <c:pt idx="0">
                  <c:v>Km2 vernet</c:v>
                </c:pt>
              </c:strCache>
            </c:strRef>
          </c:tx>
          <c:spPr>
            <a:solidFill>
              <a:schemeClr val="accent1"/>
            </a:solidFill>
            <a:ln>
              <a:noFill/>
            </a:ln>
            <a:effectLst/>
          </c:spPr>
          <c:invertIfNegative val="0"/>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C$2:$C$26</c:f>
              <c:numCache>
                <c:formatCode>0.0</c:formatCode>
                <c:ptCount val="25"/>
                <c:pt idx="0">
                  <c:v>919.5690845560199</c:v>
                </c:pt>
                <c:pt idx="1">
                  <c:v>477.94841445437692</c:v>
                </c:pt>
                <c:pt idx="2">
                  <c:v>485.89107713806311</c:v>
                </c:pt>
                <c:pt idx="3">
                  <c:v>436.13670881830097</c:v>
                </c:pt>
                <c:pt idx="4">
                  <c:v>230.37868117958166</c:v>
                </c:pt>
                <c:pt idx="5">
                  <c:v>333.84202708142891</c:v>
                </c:pt>
                <c:pt idx="6">
                  <c:v>85.808233598904792</c:v>
                </c:pt>
                <c:pt idx="7">
                  <c:v>159.56926712015226</c:v>
                </c:pt>
                <c:pt idx="8">
                  <c:v>77.745652106972145</c:v>
                </c:pt>
                <c:pt idx="9">
                  <c:v>98.229380964005358</c:v>
                </c:pt>
                <c:pt idx="10">
                  <c:v>24.260439365689571</c:v>
                </c:pt>
                <c:pt idx="11">
                  <c:v>61.906368894018172</c:v>
                </c:pt>
                <c:pt idx="12">
                  <c:v>109.03999582302218</c:v>
                </c:pt>
                <c:pt idx="13">
                  <c:v>64.729580713639251</c:v>
                </c:pt>
                <c:pt idx="14">
                  <c:v>35.800498064720401</c:v>
                </c:pt>
                <c:pt idx="15">
                  <c:v>29.17209462924707</c:v>
                </c:pt>
                <c:pt idx="16">
                  <c:v>18.906217619987885</c:v>
                </c:pt>
                <c:pt idx="17">
                  <c:v>31.315826073951683</c:v>
                </c:pt>
                <c:pt idx="18">
                  <c:v>6.6984502723922033</c:v>
                </c:pt>
                <c:pt idx="19">
                  <c:v>37.595899087122255</c:v>
                </c:pt>
                <c:pt idx="20">
                  <c:v>11.310592244903175</c:v>
                </c:pt>
                <c:pt idx="21">
                  <c:v>3.4499219955371081</c:v>
                </c:pt>
                <c:pt idx="22">
                  <c:v>1.4601782761635393</c:v>
                </c:pt>
                <c:pt idx="23">
                  <c:v>1.9380989077648803</c:v>
                </c:pt>
                <c:pt idx="24">
                  <c:v>4.7233737298992535</c:v>
                </c:pt>
              </c:numCache>
            </c:numRef>
          </c:val>
          <c:extLst>
            <c:ext xmlns:c16="http://schemas.microsoft.com/office/drawing/2014/chart" uri="{C3380CC4-5D6E-409C-BE32-E72D297353CC}">
              <c16:uniqueId val="{00000000-8D29-4CE1-B014-F21E0AE1FBDB}"/>
            </c:ext>
          </c:extLst>
        </c:ser>
        <c:dLbls>
          <c:showLegendKey val="0"/>
          <c:showVal val="0"/>
          <c:showCatName val="0"/>
          <c:showSerName val="0"/>
          <c:showPercent val="0"/>
          <c:showBubbleSize val="0"/>
        </c:dLbls>
        <c:gapWidth val="219"/>
        <c:overlap val="-27"/>
        <c:axId val="1119051039"/>
        <c:axId val="1125916863"/>
      </c:barChart>
      <c:lineChart>
        <c:grouping val="standard"/>
        <c:varyColors val="0"/>
        <c:ser>
          <c:idx val="1"/>
          <c:order val="1"/>
          <c:tx>
            <c:strRef>
              <c:f>'[Naturvernområde_Agder__Union_TableToExcel.xlsx]Andel vernet'!$D$1</c:f>
              <c:strCache>
                <c:ptCount val="1"/>
                <c:pt idx="0">
                  <c:v>% av areal som er vernet</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D$2:$D$26</c:f>
              <c:numCache>
                <c:formatCode>0.0\ %</c:formatCode>
                <c:ptCount val="25"/>
                <c:pt idx="0">
                  <c:v>0.62430245109192206</c:v>
                </c:pt>
                <c:pt idx="1">
                  <c:v>0.51901194465730061</c:v>
                </c:pt>
                <c:pt idx="2">
                  <c:v>0.38257653074043863</c:v>
                </c:pt>
                <c:pt idx="3">
                  <c:v>0.27931026689395666</c:v>
                </c:pt>
                <c:pt idx="4">
                  <c:v>0.25855585892072613</c:v>
                </c:pt>
                <c:pt idx="5">
                  <c:v>0.25359187195464844</c:v>
                </c:pt>
                <c:pt idx="6">
                  <c:v>0.18521335632758687</c:v>
                </c:pt>
                <c:pt idx="7">
                  <c:v>0.14073732476998899</c:v>
                </c:pt>
                <c:pt idx="8">
                  <c:v>0.12723550445993145</c:v>
                </c:pt>
                <c:pt idx="9">
                  <c:v>0.10062873295339467</c:v>
                </c:pt>
                <c:pt idx="10">
                  <c:v>7.514944087639483E-2</c:v>
                </c:pt>
                <c:pt idx="11">
                  <c:v>7.1632022278859897E-2</c:v>
                </c:pt>
                <c:pt idx="12">
                  <c:v>7.0471478078583755E-2</c:v>
                </c:pt>
                <c:pt idx="13">
                  <c:v>6.8551105473697013E-2</c:v>
                </c:pt>
                <c:pt idx="14">
                  <c:v>5.5389384638950594E-2</c:v>
                </c:pt>
                <c:pt idx="15">
                  <c:v>4.9515476977679551E-2</c:v>
                </c:pt>
                <c:pt idx="16">
                  <c:v>2.9572572405010326E-2</c:v>
                </c:pt>
                <c:pt idx="17">
                  <c:v>2.4868768210833506E-2</c:v>
                </c:pt>
                <c:pt idx="18">
                  <c:v>1.7361104691874556E-2</c:v>
                </c:pt>
                <c:pt idx="19">
                  <c:v>1.6334066025200603E-2</c:v>
                </c:pt>
                <c:pt idx="20">
                  <c:v>1.3256584003360971E-2</c:v>
                </c:pt>
                <c:pt idx="21">
                  <c:v>5.88907339970256E-3</c:v>
                </c:pt>
                <c:pt idx="22">
                  <c:v>5.5623967628639463E-3</c:v>
                </c:pt>
                <c:pt idx="23">
                  <c:v>5.4367573752398136E-3</c:v>
                </c:pt>
                <c:pt idx="24">
                  <c:v>5.35539932357172E-3</c:v>
                </c:pt>
              </c:numCache>
            </c:numRef>
          </c:val>
          <c:smooth val="0"/>
          <c:extLst>
            <c:ext xmlns:c16="http://schemas.microsoft.com/office/drawing/2014/chart" uri="{C3380CC4-5D6E-409C-BE32-E72D297353CC}">
              <c16:uniqueId val="{00000001-8D29-4CE1-B014-F21E0AE1FBDB}"/>
            </c:ext>
          </c:extLst>
        </c:ser>
        <c:dLbls>
          <c:showLegendKey val="0"/>
          <c:showVal val="0"/>
          <c:showCatName val="0"/>
          <c:showSerName val="0"/>
          <c:showPercent val="0"/>
          <c:showBubbleSize val="0"/>
        </c:dLbls>
        <c:marker val="1"/>
        <c:smooth val="0"/>
        <c:axId val="1119049183"/>
        <c:axId val="1125921183"/>
      </c:lineChart>
      <c:catAx>
        <c:axId val="1119051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354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25916863"/>
        <c:crosses val="autoZero"/>
        <c:auto val="1"/>
        <c:lblAlgn val="ctr"/>
        <c:lblOffset val="100"/>
        <c:noMultiLvlLbl val="0"/>
      </c:catAx>
      <c:valAx>
        <c:axId val="11259168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51039"/>
        <c:crosses val="autoZero"/>
        <c:crossBetween val="between"/>
      </c:valAx>
      <c:valAx>
        <c:axId val="1125921183"/>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49183"/>
        <c:crosses val="max"/>
        <c:crossBetween val="between"/>
      </c:valAx>
      <c:catAx>
        <c:axId val="1119049183"/>
        <c:scaling>
          <c:orientation val="minMax"/>
        </c:scaling>
        <c:delete val="1"/>
        <c:axPos val="b"/>
        <c:numFmt formatCode="General" sourceLinked="1"/>
        <c:majorTickMark val="none"/>
        <c:minorTickMark val="none"/>
        <c:tickLblPos val="nextTo"/>
        <c:crossAx val="112592118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Igangsatt_bolig.xlsx]Bygningsmassen!Pivottabell3</c:name>
    <c:fmtId val="-1"/>
  </c:pivotSource>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sz="1400">
                <a:solidFill>
                  <a:sysClr val="windowText" lastClr="000000"/>
                </a:solidFill>
              </a:rPr>
              <a:t>Boligmassen per 2024 (andel i prosent) </a:t>
            </a:r>
            <a:r>
              <a:rPr lang="nb-NO">
                <a:solidFill>
                  <a:sysClr val="windowText" lastClr="000000"/>
                </a:solidFill>
              </a:rPr>
              <a:t>- </a:t>
            </a:r>
            <a:r>
              <a:rPr lang="nb-NO" sz="1100">
                <a:solidFill>
                  <a:sysClr val="windowText" lastClr="000000"/>
                </a:solidFill>
              </a:rPr>
              <a:t>SSB 12941</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ygningsmassen!$L$4:$L$5</c:f>
              <c:strCache>
                <c:ptCount val="1"/>
                <c:pt idx="0">
                  <c:v>Flekkefjor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L$6:$L$11</c:f>
              <c:numCache>
                <c:formatCode>General</c:formatCode>
                <c:ptCount val="6"/>
                <c:pt idx="0">
                  <c:v>6</c:v>
                </c:pt>
                <c:pt idx="1">
                  <c:v>7</c:v>
                </c:pt>
                <c:pt idx="2">
                  <c:v>1</c:v>
                </c:pt>
                <c:pt idx="3">
                  <c:v>72</c:v>
                </c:pt>
                <c:pt idx="4">
                  <c:v>8</c:v>
                </c:pt>
                <c:pt idx="5">
                  <c:v>6</c:v>
                </c:pt>
              </c:numCache>
            </c:numRef>
          </c:val>
          <c:extLst>
            <c:ext xmlns:c16="http://schemas.microsoft.com/office/drawing/2014/chart" uri="{C3380CC4-5D6E-409C-BE32-E72D297353CC}">
              <c16:uniqueId val="{00000000-9523-4A7A-92BA-0C7E61E64EB8}"/>
            </c:ext>
          </c:extLst>
        </c:ser>
        <c:ser>
          <c:idx val="1"/>
          <c:order val="1"/>
          <c:tx>
            <c:strRef>
              <c:f>Bygningsmassen!$M$4:$M$5</c:f>
              <c:strCache>
                <c:ptCount val="1"/>
                <c:pt idx="0">
                  <c:v>Agd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M$6:$M$11</c:f>
              <c:numCache>
                <c:formatCode>General</c:formatCode>
                <c:ptCount val="6"/>
                <c:pt idx="0">
                  <c:v>4</c:v>
                </c:pt>
                <c:pt idx="1">
                  <c:v>15</c:v>
                </c:pt>
                <c:pt idx="2">
                  <c:v>2</c:v>
                </c:pt>
                <c:pt idx="3">
                  <c:v>59</c:v>
                </c:pt>
                <c:pt idx="4">
                  <c:v>12</c:v>
                </c:pt>
                <c:pt idx="5">
                  <c:v>8</c:v>
                </c:pt>
              </c:numCache>
            </c:numRef>
          </c:val>
          <c:extLst>
            <c:ext xmlns:c16="http://schemas.microsoft.com/office/drawing/2014/chart" uri="{C3380CC4-5D6E-409C-BE32-E72D297353CC}">
              <c16:uniqueId val="{00000001-9523-4A7A-92BA-0C7E61E64EB8}"/>
            </c:ext>
          </c:extLst>
        </c:ser>
        <c:dLbls>
          <c:showLegendKey val="0"/>
          <c:showVal val="0"/>
          <c:showCatName val="0"/>
          <c:showSerName val="0"/>
          <c:showPercent val="0"/>
          <c:showBubbleSize val="0"/>
        </c:dLbls>
        <c:gapWidth val="219"/>
        <c:overlap val="-27"/>
        <c:axId val="1310628344"/>
        <c:axId val="1310629328"/>
      </c:barChart>
      <c:catAx>
        <c:axId val="1310628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9328"/>
        <c:crosses val="autoZero"/>
        <c:auto val="1"/>
        <c:lblAlgn val="ctr"/>
        <c:lblOffset val="100"/>
        <c:noMultiLvlLbl val="0"/>
      </c:catAx>
      <c:valAx>
        <c:axId val="131062932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8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stolpediagram!Pivottabell1</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Sysselsatte per sektor, 4. kvartal</a:t>
            </a:r>
            <a:r>
              <a:rPr lang="nb-NO" baseline="0">
                <a:solidFill>
                  <a:sysClr val="windowText" lastClr="000000"/>
                </a:solidFill>
                <a:latin typeface="Arial" panose="020B0604020202020204" pitchFamily="34" charset="0"/>
                <a:cs typeface="Arial" panose="020B0604020202020204" pitchFamily="34" charset="0"/>
              </a:rPr>
              <a:t> (SSB 13472)</a:t>
            </a:r>
            <a:r>
              <a:rPr lang="nb-NO">
                <a:solidFill>
                  <a:sysClr val="windowText" lastClr="000000"/>
                </a:solidFill>
                <a:latin typeface="Arial" panose="020B0604020202020204" pitchFamily="34" charset="0"/>
                <a:cs typeface="Arial" panose="020B0604020202020204" pitchFamily="34" charset="0"/>
              </a:rPr>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tolpediagram!$B$3:$B$4</c:f>
              <c:strCache>
                <c:ptCount val="1"/>
                <c:pt idx="0">
                  <c:v>Fylkeskommunal forvaltning</c:v>
                </c:pt>
              </c:strCache>
            </c:strRef>
          </c:tx>
          <c:spPr>
            <a:solidFill>
              <a:schemeClr val="accent1"/>
            </a:solidFill>
            <a:ln>
              <a:noFill/>
            </a:ln>
            <a:effectLst/>
          </c:spPr>
          <c:invertIfNegative val="0"/>
          <c:cat>
            <c:strRef>
              <c:f>stolpediagram!$A$5:$A$11</c:f>
              <c:strCache>
                <c:ptCount val="6"/>
                <c:pt idx="0">
                  <c:v>2018</c:v>
                </c:pt>
                <c:pt idx="1">
                  <c:v>2019</c:v>
                </c:pt>
                <c:pt idx="2">
                  <c:v>2020</c:v>
                </c:pt>
                <c:pt idx="3">
                  <c:v>2021</c:v>
                </c:pt>
                <c:pt idx="4">
                  <c:v>2022</c:v>
                </c:pt>
                <c:pt idx="5">
                  <c:v>2023</c:v>
                </c:pt>
              </c:strCache>
            </c:strRef>
          </c:cat>
          <c:val>
            <c:numRef>
              <c:f>stolpediagram!$B$5:$B$11</c:f>
              <c:numCache>
                <c:formatCode>General</c:formatCode>
                <c:ptCount val="6"/>
                <c:pt idx="0">
                  <c:v>90</c:v>
                </c:pt>
                <c:pt idx="1">
                  <c:v>87</c:v>
                </c:pt>
                <c:pt idx="2">
                  <c:v>100</c:v>
                </c:pt>
                <c:pt idx="3">
                  <c:v>111</c:v>
                </c:pt>
                <c:pt idx="4">
                  <c:v>107</c:v>
                </c:pt>
                <c:pt idx="5">
                  <c:v>111</c:v>
                </c:pt>
              </c:numCache>
            </c:numRef>
          </c:val>
          <c:extLst>
            <c:ext xmlns:c16="http://schemas.microsoft.com/office/drawing/2014/chart" uri="{C3380CC4-5D6E-409C-BE32-E72D297353CC}">
              <c16:uniqueId val="{00000000-7353-4EDA-960F-EC8C6F48E180}"/>
            </c:ext>
          </c:extLst>
        </c:ser>
        <c:ser>
          <c:idx val="1"/>
          <c:order val="1"/>
          <c:tx>
            <c:strRef>
              <c:f>stolpediagram!$C$3:$C$4</c:f>
              <c:strCache>
                <c:ptCount val="1"/>
                <c:pt idx="0">
                  <c:v>Kommunal forvaltning</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C$5:$C$11</c:f>
              <c:numCache>
                <c:formatCode>General</c:formatCode>
                <c:ptCount val="6"/>
                <c:pt idx="0">
                  <c:v>1138</c:v>
                </c:pt>
                <c:pt idx="1">
                  <c:v>1123</c:v>
                </c:pt>
                <c:pt idx="2">
                  <c:v>1099</c:v>
                </c:pt>
                <c:pt idx="3">
                  <c:v>1179</c:v>
                </c:pt>
                <c:pt idx="4">
                  <c:v>1143</c:v>
                </c:pt>
                <c:pt idx="5">
                  <c:v>1168</c:v>
                </c:pt>
              </c:numCache>
            </c:numRef>
          </c:val>
          <c:extLst>
            <c:ext xmlns:c16="http://schemas.microsoft.com/office/drawing/2014/chart" uri="{C3380CC4-5D6E-409C-BE32-E72D297353CC}">
              <c16:uniqueId val="{00000001-7353-4EDA-960F-EC8C6F48E180}"/>
            </c:ext>
          </c:extLst>
        </c:ser>
        <c:ser>
          <c:idx val="2"/>
          <c:order val="2"/>
          <c:tx>
            <c:strRef>
              <c:f>stolpediagram!$D$3:$D$4</c:f>
              <c:strCache>
                <c:ptCount val="1"/>
                <c:pt idx="0">
                  <c:v>Offentlige eide foretak</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D$5:$D$11</c:f>
              <c:numCache>
                <c:formatCode>General</c:formatCode>
                <c:ptCount val="6"/>
                <c:pt idx="0">
                  <c:v>72</c:v>
                </c:pt>
                <c:pt idx="1">
                  <c:v>64</c:v>
                </c:pt>
                <c:pt idx="2">
                  <c:v>76</c:v>
                </c:pt>
                <c:pt idx="3">
                  <c:v>77</c:v>
                </c:pt>
                <c:pt idx="4">
                  <c:v>77</c:v>
                </c:pt>
                <c:pt idx="5">
                  <c:v>62</c:v>
                </c:pt>
              </c:numCache>
            </c:numRef>
          </c:val>
          <c:extLst>
            <c:ext xmlns:c16="http://schemas.microsoft.com/office/drawing/2014/chart" uri="{C3380CC4-5D6E-409C-BE32-E72D297353CC}">
              <c16:uniqueId val="{00000002-7353-4EDA-960F-EC8C6F48E180}"/>
            </c:ext>
          </c:extLst>
        </c:ser>
        <c:ser>
          <c:idx val="3"/>
          <c:order val="3"/>
          <c:tx>
            <c:strRef>
              <c:f>stolpediagram!$E$3:$E$4</c:f>
              <c:strCache>
                <c:ptCount val="1"/>
                <c:pt idx="0">
                  <c:v>Privat sektor</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E$5:$E$11</c:f>
              <c:numCache>
                <c:formatCode>General</c:formatCode>
                <c:ptCount val="6"/>
                <c:pt idx="0">
                  <c:v>2227</c:v>
                </c:pt>
                <c:pt idx="1">
                  <c:v>2248</c:v>
                </c:pt>
                <c:pt idx="2">
                  <c:v>2301</c:v>
                </c:pt>
                <c:pt idx="3">
                  <c:v>2427</c:v>
                </c:pt>
                <c:pt idx="4">
                  <c:v>2432</c:v>
                </c:pt>
                <c:pt idx="5">
                  <c:v>2479</c:v>
                </c:pt>
              </c:numCache>
            </c:numRef>
          </c:val>
          <c:extLst>
            <c:ext xmlns:c16="http://schemas.microsoft.com/office/drawing/2014/chart" uri="{C3380CC4-5D6E-409C-BE32-E72D297353CC}">
              <c16:uniqueId val="{00000003-7353-4EDA-960F-EC8C6F48E180}"/>
            </c:ext>
          </c:extLst>
        </c:ser>
        <c:ser>
          <c:idx val="4"/>
          <c:order val="4"/>
          <c:tx>
            <c:strRef>
              <c:f>stolpediagram!$F$3:$F$4</c:f>
              <c:strCache>
                <c:ptCount val="1"/>
                <c:pt idx="0">
                  <c:v>Statsforvaltningen</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5-7353-4EDA-960F-EC8C6F48E180}"/>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7-7353-4EDA-960F-EC8C6F48E180}"/>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9-7353-4EDA-960F-EC8C6F48E180}"/>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B-7353-4EDA-960F-EC8C6F48E180}"/>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D-7353-4EDA-960F-EC8C6F48E180}"/>
              </c:ext>
            </c:extLst>
          </c:dPt>
          <c:dPt>
            <c:idx val="5"/>
            <c:invertIfNegative val="0"/>
            <c:bubble3D val="0"/>
            <c:extLst>
              <c:ext xmlns:c16="http://schemas.microsoft.com/office/drawing/2014/chart" uri="{C3380CC4-5D6E-409C-BE32-E72D297353CC}">
                <c16:uniqueId val="{0000000E-7353-4EDA-960F-EC8C6F48E180}"/>
              </c:ext>
            </c:extLst>
          </c:dPt>
          <c:dLbls>
            <c:dLbl>
              <c:idx val="0"/>
              <c:layout>
                <c:manualLayout>
                  <c:x val="1.724881414402759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353-4EDA-960F-EC8C6F48E180}"/>
                </c:ext>
              </c:extLst>
            </c:dLbl>
            <c:dLbl>
              <c:idx val="1"/>
              <c:layout>
                <c:manualLayout>
                  <c:x val="1.55239327296248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353-4EDA-960F-EC8C6F48E180}"/>
                </c:ext>
              </c:extLst>
            </c:dLbl>
            <c:dLbl>
              <c:idx val="2"/>
              <c:layout>
                <c:manualLayout>
                  <c:x val="1.03492884864165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353-4EDA-960F-EC8C6F48E180}"/>
                </c:ext>
              </c:extLst>
            </c:dLbl>
            <c:dLbl>
              <c:idx val="3"/>
              <c:layout>
                <c:manualLayout>
                  <c:x val="6.899525657611039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353-4EDA-960F-EC8C6F48E180}"/>
                </c:ext>
              </c:extLst>
            </c:dLbl>
            <c:dLbl>
              <c:idx val="4"/>
              <c:layout>
                <c:manualLayout>
                  <c:x val="5.174644243208279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353-4EDA-960F-EC8C6F48E180}"/>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F$5:$F$11</c:f>
              <c:numCache>
                <c:formatCode>General</c:formatCode>
                <c:ptCount val="6"/>
                <c:pt idx="0">
                  <c:v>522</c:v>
                </c:pt>
                <c:pt idx="1">
                  <c:v>513</c:v>
                </c:pt>
                <c:pt idx="2">
                  <c:v>509</c:v>
                </c:pt>
                <c:pt idx="3">
                  <c:v>492</c:v>
                </c:pt>
                <c:pt idx="4">
                  <c:v>509</c:v>
                </c:pt>
                <c:pt idx="5">
                  <c:v>514</c:v>
                </c:pt>
              </c:numCache>
            </c:numRef>
          </c:val>
          <c:extLst>
            <c:ext xmlns:c16="http://schemas.microsoft.com/office/drawing/2014/chart" uri="{C3380CC4-5D6E-409C-BE32-E72D297353CC}">
              <c16:uniqueId val="{0000000F-7353-4EDA-960F-EC8C6F48E180}"/>
            </c:ext>
          </c:extLst>
        </c:ser>
        <c:dLbls>
          <c:showLegendKey val="0"/>
          <c:showVal val="0"/>
          <c:showCatName val="0"/>
          <c:showSerName val="0"/>
          <c:showPercent val="0"/>
          <c:showBubbleSize val="0"/>
        </c:dLbls>
        <c:gapWidth val="219"/>
        <c:overlap val="-27"/>
        <c:axId val="1129973376"/>
        <c:axId val="873491920"/>
      </c:barChart>
      <c:catAx>
        <c:axId val="112997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873491920"/>
        <c:crosses val="autoZero"/>
        <c:auto val="1"/>
        <c:lblAlgn val="ctr"/>
        <c:lblOffset val="100"/>
        <c:noMultiLvlLbl val="0"/>
      </c:catAx>
      <c:valAx>
        <c:axId val="8734919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112997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Kakediagram!Pivottabell2</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Sysselsatte</a:t>
            </a:r>
            <a:r>
              <a:rPr lang="en-US" baseline="0">
                <a:solidFill>
                  <a:sysClr val="windowText" lastClr="000000"/>
                </a:solidFill>
                <a:latin typeface="Arial" panose="020B0604020202020204" pitchFamily="34" charset="0"/>
                <a:cs typeface="Arial" panose="020B0604020202020204" pitchFamily="34" charset="0"/>
              </a:rPr>
              <a:t> per sektor, 4. kvartal 2023 (SSB 13472)</a:t>
            </a:r>
            <a:endParaRPr lang="en-US">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5"/>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6"/>
        <c:spPr>
          <a:solidFill>
            <a:schemeClr val="accent1"/>
          </a:solidFill>
          <a:ln>
            <a:noFill/>
          </a:ln>
          <a:effectLst/>
        </c:spPr>
      </c:pivotFmt>
      <c:pivotFmt>
        <c:idx val="7"/>
        <c:spPr>
          <a:solidFill>
            <a:schemeClr val="accent1"/>
          </a:solidFill>
          <a:ln>
            <a:noFill/>
          </a:ln>
          <a:effectLst/>
        </c:spPr>
      </c:pivotFmt>
      <c:pivotFmt>
        <c:idx val="8"/>
        <c:spPr>
          <a:solidFill>
            <a:schemeClr val="accent1"/>
          </a:solidFill>
          <a:ln>
            <a:noFill/>
          </a:ln>
          <a:effectLst/>
        </c:spPr>
      </c:pivotFmt>
      <c:pivotFmt>
        <c:idx val="9"/>
        <c:spPr>
          <a:solidFill>
            <a:schemeClr val="accent1"/>
          </a:solidFill>
          <a:ln>
            <a:noFill/>
          </a:ln>
          <a:effectLst/>
        </c:spPr>
      </c:pivotFmt>
      <c:pivotFmt>
        <c:idx val="1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1"/>
        <c:spPr>
          <a:solidFill>
            <a:schemeClr val="accent1"/>
          </a:solidFill>
          <a:ln>
            <a:noFill/>
          </a:ln>
          <a:effectLst/>
        </c:spPr>
      </c:pivotFmt>
      <c:pivotFmt>
        <c:idx val="12"/>
        <c:spPr>
          <a:solidFill>
            <a:schemeClr val="accent1"/>
          </a:solidFill>
          <a:ln>
            <a:noFill/>
          </a:ln>
          <a:effectLst/>
        </c:spPr>
      </c:pivotFmt>
      <c:pivotFmt>
        <c:idx val="13"/>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4"/>
        <c:spPr>
          <a:solidFill>
            <a:schemeClr val="accent1"/>
          </a:solidFill>
          <a:ln>
            <a:noFill/>
          </a:ln>
          <a:effectLst/>
        </c:spPr>
      </c:pivotFmt>
      <c:pivotFmt>
        <c:idx val="15"/>
        <c:spPr>
          <a:solidFill>
            <a:schemeClr val="accent1"/>
          </a:solidFill>
          <a:ln>
            <a:noFill/>
          </a:ln>
          <a:effectLst/>
        </c:spPr>
      </c:pivotFmt>
      <c:pivotFmt>
        <c:idx val="16"/>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7"/>
        <c:spPr>
          <a:solidFill>
            <a:schemeClr val="accent1"/>
          </a:solidFill>
          <a:ln>
            <a:noFill/>
          </a:ln>
          <a:effectLst/>
        </c:spPr>
      </c:pivotFmt>
      <c:pivotFmt>
        <c:idx val="18"/>
        <c:spPr>
          <a:solidFill>
            <a:schemeClr val="accent1"/>
          </a:solidFill>
          <a:ln>
            <a:noFill/>
          </a:ln>
          <a:effectLst/>
        </c:spPr>
      </c:pivotFmt>
      <c:pivotFmt>
        <c:idx val="19"/>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20"/>
        <c:spPr>
          <a:solidFill>
            <a:schemeClr val="accent1"/>
          </a:solidFill>
          <a:ln>
            <a:noFill/>
          </a:ln>
          <a:effectLst/>
        </c:spPr>
      </c:pivotFmt>
      <c:pivotFmt>
        <c:idx val="21"/>
        <c:spPr>
          <a:solidFill>
            <a:schemeClr val="accent1"/>
          </a:solidFill>
          <a:ln>
            <a:noFill/>
          </a:ln>
          <a:effectLst/>
        </c:spPr>
      </c:pivotFmt>
    </c:pivotFmts>
    <c:plotArea>
      <c:layout/>
      <c:pieChart>
        <c:varyColors val="1"/>
        <c:ser>
          <c:idx val="0"/>
          <c:order val="0"/>
          <c:tx>
            <c:strRef>
              <c:f>Kakediagram!$B$4</c:f>
              <c:strCache>
                <c:ptCount val="1"/>
                <c:pt idx="0">
                  <c:v>Totalt</c:v>
                </c:pt>
              </c:strCache>
            </c:strRef>
          </c:tx>
          <c:dPt>
            <c:idx val="0"/>
            <c:bubble3D val="0"/>
            <c:spPr>
              <a:solidFill>
                <a:schemeClr val="accent1"/>
              </a:solidFill>
              <a:ln>
                <a:noFill/>
              </a:ln>
              <a:effectLst/>
            </c:spPr>
            <c:extLst>
              <c:ext xmlns:c16="http://schemas.microsoft.com/office/drawing/2014/chart" uri="{C3380CC4-5D6E-409C-BE32-E72D297353CC}">
                <c16:uniqueId val="{00000001-E5CE-4FB7-80C7-3B4CED2A7ECC}"/>
              </c:ext>
            </c:extLst>
          </c:dPt>
          <c:dPt>
            <c:idx val="1"/>
            <c:bubble3D val="0"/>
            <c:spPr>
              <a:solidFill>
                <a:schemeClr val="accent2"/>
              </a:solidFill>
              <a:ln>
                <a:noFill/>
              </a:ln>
              <a:effectLst/>
            </c:spPr>
            <c:extLst>
              <c:ext xmlns:c16="http://schemas.microsoft.com/office/drawing/2014/chart" uri="{C3380CC4-5D6E-409C-BE32-E72D297353CC}">
                <c16:uniqueId val="{00000003-E5CE-4FB7-80C7-3B4CED2A7ECC}"/>
              </c:ext>
            </c:extLst>
          </c:dPt>
          <c:dPt>
            <c:idx val="2"/>
            <c:bubble3D val="0"/>
            <c:spPr>
              <a:solidFill>
                <a:schemeClr val="accent3"/>
              </a:solidFill>
              <a:ln>
                <a:noFill/>
              </a:ln>
              <a:effectLst/>
            </c:spPr>
            <c:extLst>
              <c:ext xmlns:c16="http://schemas.microsoft.com/office/drawing/2014/chart" uri="{C3380CC4-5D6E-409C-BE32-E72D297353CC}">
                <c16:uniqueId val="{00000005-E5CE-4FB7-80C7-3B4CED2A7ECC}"/>
              </c:ext>
            </c:extLst>
          </c:dPt>
          <c:dPt>
            <c:idx val="3"/>
            <c:bubble3D val="0"/>
            <c:spPr>
              <a:solidFill>
                <a:schemeClr val="accent4"/>
              </a:solidFill>
              <a:ln>
                <a:noFill/>
              </a:ln>
              <a:effectLst/>
            </c:spPr>
            <c:extLst>
              <c:ext xmlns:c16="http://schemas.microsoft.com/office/drawing/2014/chart" uri="{C3380CC4-5D6E-409C-BE32-E72D297353CC}">
                <c16:uniqueId val="{00000007-E5CE-4FB7-80C7-3B4CED2A7ECC}"/>
              </c:ext>
            </c:extLst>
          </c:dPt>
          <c:dPt>
            <c:idx val="4"/>
            <c:bubble3D val="0"/>
            <c:spPr>
              <a:solidFill>
                <a:schemeClr val="accent5"/>
              </a:solidFill>
              <a:ln>
                <a:noFill/>
              </a:ln>
              <a:effectLst/>
            </c:spPr>
            <c:extLst>
              <c:ext xmlns:c16="http://schemas.microsoft.com/office/drawing/2014/chart" uri="{C3380CC4-5D6E-409C-BE32-E72D297353CC}">
                <c16:uniqueId val="{00000009-E5CE-4FB7-80C7-3B4CED2A7ECC}"/>
              </c:ext>
            </c:extLst>
          </c:dPt>
          <c:dLbls>
            <c:dLbl>
              <c:idx val="2"/>
              <c:layout>
                <c:manualLayout>
                  <c:x val="-4.9246143084106337E-3"/>
                  <c:y val="0.17019081705695879"/>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E5CE-4FB7-80C7-3B4CED2A7ECC}"/>
                </c:ext>
              </c:extLst>
            </c:dLbl>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Kakediagram!$A$5:$A$10</c:f>
              <c:strCache>
                <c:ptCount val="5"/>
                <c:pt idx="0">
                  <c:v>Fylkeskommunal forvaltning</c:v>
                </c:pt>
                <c:pt idx="1">
                  <c:v>Kommunal forvaltning</c:v>
                </c:pt>
                <c:pt idx="2">
                  <c:v>Offentlige eide foretak</c:v>
                </c:pt>
                <c:pt idx="3">
                  <c:v>Privat sektor</c:v>
                </c:pt>
                <c:pt idx="4">
                  <c:v>Statsforvaltningen</c:v>
                </c:pt>
              </c:strCache>
            </c:strRef>
          </c:cat>
          <c:val>
            <c:numRef>
              <c:f>Kakediagram!$B$5:$B$10</c:f>
              <c:numCache>
                <c:formatCode>General</c:formatCode>
                <c:ptCount val="5"/>
                <c:pt idx="0">
                  <c:v>111</c:v>
                </c:pt>
                <c:pt idx="1">
                  <c:v>1168</c:v>
                </c:pt>
                <c:pt idx="2">
                  <c:v>62</c:v>
                </c:pt>
                <c:pt idx="3">
                  <c:v>2479</c:v>
                </c:pt>
                <c:pt idx="4">
                  <c:v>514</c:v>
                </c:pt>
              </c:numCache>
            </c:numRef>
          </c:val>
          <c:extLst>
            <c:ext xmlns:c16="http://schemas.microsoft.com/office/drawing/2014/chart" uri="{C3380CC4-5D6E-409C-BE32-E72D297353CC}">
              <c16:uniqueId val="{0000000A-E5CE-4FB7-80C7-3B4CED2A7ECC}"/>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pivot 2 siffer!Pivottabell7</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Industri, samt bygge- og anleggsvirksomhet (SSB 1347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
        <c:spPr>
          <a:solidFill>
            <a:schemeClr val="accent1"/>
          </a:solidFill>
          <a:ln w="25400" cap="rnd">
            <a:no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3"/>
      </c:pivotFmt>
      <c:pivotFmt>
        <c:idx val="94"/>
      </c:pivotFmt>
      <c:pivotFmt>
        <c:idx val="95"/>
      </c:pivotFmt>
      <c:pivotFmt>
        <c:idx val="96"/>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7"/>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0"/>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4"/>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pivotFmt>
      <c:pivotFmt>
        <c:idx val="10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0"/>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1"/>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0"/>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4"/>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2 siffer'!$B$4:$B$5</c:f>
              <c:strCache>
                <c:ptCount val="1"/>
                <c:pt idx="0">
                  <c:v>25 Metallvareindustri</c:v>
                </c:pt>
              </c:strCache>
            </c:strRef>
          </c:tx>
          <c:spPr>
            <a:ln w="28575" cap="rnd">
              <a:solidFill>
                <a:schemeClr val="accent1"/>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B$6:$B$12</c:f>
              <c:numCache>
                <c:formatCode>General</c:formatCode>
                <c:ptCount val="6"/>
                <c:pt idx="0">
                  <c:v>75</c:v>
                </c:pt>
                <c:pt idx="1">
                  <c:v>73</c:v>
                </c:pt>
                <c:pt idx="2">
                  <c:v>84</c:v>
                </c:pt>
                <c:pt idx="3">
                  <c:v>88</c:v>
                </c:pt>
                <c:pt idx="4">
                  <c:v>95</c:v>
                </c:pt>
                <c:pt idx="5">
                  <c:v>119</c:v>
                </c:pt>
              </c:numCache>
            </c:numRef>
          </c:val>
          <c:smooth val="0"/>
          <c:extLst>
            <c:ext xmlns:c16="http://schemas.microsoft.com/office/drawing/2014/chart" uri="{C3380CC4-5D6E-409C-BE32-E72D297353CC}">
              <c16:uniqueId val="{00000000-FD36-424D-AD23-9B8C9A67BD1F}"/>
            </c:ext>
          </c:extLst>
        </c:ser>
        <c:ser>
          <c:idx val="3"/>
          <c:order val="1"/>
          <c:tx>
            <c:strRef>
              <c:f>'pivot 2 siffer'!$C$4:$C$5</c:f>
              <c:strCache>
                <c:ptCount val="1"/>
                <c:pt idx="0">
                  <c:v>28 Maskinindustri</c:v>
                </c:pt>
              </c:strCache>
            </c:strRef>
          </c:tx>
          <c:spPr>
            <a:ln w="28575" cap="rnd">
              <a:solidFill>
                <a:schemeClr val="accent4"/>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C$6:$C$12</c:f>
              <c:numCache>
                <c:formatCode>General</c:formatCode>
                <c:ptCount val="6"/>
                <c:pt idx="0">
                  <c:v>157</c:v>
                </c:pt>
                <c:pt idx="1">
                  <c:v>170</c:v>
                </c:pt>
                <c:pt idx="2">
                  <c:v>175</c:v>
                </c:pt>
                <c:pt idx="3">
                  <c:v>197</c:v>
                </c:pt>
                <c:pt idx="4">
                  <c:v>209</c:v>
                </c:pt>
                <c:pt idx="5">
                  <c:v>223</c:v>
                </c:pt>
              </c:numCache>
            </c:numRef>
          </c:val>
          <c:smooth val="0"/>
          <c:extLst>
            <c:ext xmlns:c16="http://schemas.microsoft.com/office/drawing/2014/chart" uri="{C3380CC4-5D6E-409C-BE32-E72D297353CC}">
              <c16:uniqueId val="{00000001-FD36-424D-AD23-9B8C9A67BD1F}"/>
            </c:ext>
          </c:extLst>
        </c:ser>
        <c:ser>
          <c:idx val="1"/>
          <c:order val="2"/>
          <c:tx>
            <c:strRef>
              <c:f>'pivot 2 siffer'!$D$4:$D$5</c:f>
              <c:strCache>
                <c:ptCount val="1"/>
                <c:pt idx="0">
                  <c:v>41 Oppføring av bygninger</c:v>
                </c:pt>
              </c:strCache>
            </c:strRef>
          </c:tx>
          <c:spPr>
            <a:ln w="28575" cap="rnd">
              <a:solidFill>
                <a:schemeClr val="accent2"/>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D$6:$D$12</c:f>
              <c:numCache>
                <c:formatCode>General</c:formatCode>
                <c:ptCount val="6"/>
                <c:pt idx="0">
                  <c:v>132</c:v>
                </c:pt>
                <c:pt idx="1">
                  <c:v>126</c:v>
                </c:pt>
                <c:pt idx="2">
                  <c:v>119</c:v>
                </c:pt>
                <c:pt idx="3">
                  <c:v>126</c:v>
                </c:pt>
                <c:pt idx="4">
                  <c:v>123</c:v>
                </c:pt>
                <c:pt idx="5">
                  <c:v>119</c:v>
                </c:pt>
              </c:numCache>
            </c:numRef>
          </c:val>
          <c:smooth val="0"/>
          <c:extLst>
            <c:ext xmlns:c16="http://schemas.microsoft.com/office/drawing/2014/chart" uri="{C3380CC4-5D6E-409C-BE32-E72D297353CC}">
              <c16:uniqueId val="{00000002-FD36-424D-AD23-9B8C9A67BD1F}"/>
            </c:ext>
          </c:extLst>
        </c:ser>
        <c:ser>
          <c:idx val="2"/>
          <c:order val="3"/>
          <c:tx>
            <c:strRef>
              <c:f>'pivot 2 siffer'!$E$4:$E$5</c:f>
              <c:strCache>
                <c:ptCount val="1"/>
                <c:pt idx="0">
                  <c:v>43 Spesialisert bygge- og anleggsvirksomhet</c:v>
                </c:pt>
              </c:strCache>
            </c:strRef>
          </c:tx>
          <c:spPr>
            <a:ln w="28575" cap="rnd">
              <a:solidFill>
                <a:schemeClr val="accent3"/>
              </a:solidFill>
              <a:round/>
            </a:ln>
            <a:effectLst/>
          </c:spPr>
          <c:marker>
            <c:symbol val="diamond"/>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2 siffer'!$A$6:$A$12</c:f>
              <c:strCache>
                <c:ptCount val="6"/>
                <c:pt idx="0">
                  <c:v>2018</c:v>
                </c:pt>
                <c:pt idx="1">
                  <c:v>2019</c:v>
                </c:pt>
                <c:pt idx="2">
                  <c:v>2020</c:v>
                </c:pt>
                <c:pt idx="3">
                  <c:v>2021</c:v>
                </c:pt>
                <c:pt idx="4">
                  <c:v>2022</c:v>
                </c:pt>
                <c:pt idx="5">
                  <c:v>2023</c:v>
                </c:pt>
              </c:strCache>
            </c:strRef>
          </c:cat>
          <c:val>
            <c:numRef>
              <c:f>'pivot 2 siffer'!$E$6:$E$12</c:f>
              <c:numCache>
                <c:formatCode>General</c:formatCode>
                <c:ptCount val="6"/>
                <c:pt idx="0">
                  <c:v>172</c:v>
                </c:pt>
                <c:pt idx="1">
                  <c:v>181</c:v>
                </c:pt>
                <c:pt idx="2">
                  <c:v>183</c:v>
                </c:pt>
                <c:pt idx="3">
                  <c:v>196</c:v>
                </c:pt>
                <c:pt idx="4">
                  <c:v>243</c:v>
                </c:pt>
                <c:pt idx="5">
                  <c:v>250</c:v>
                </c:pt>
              </c:numCache>
            </c:numRef>
          </c:val>
          <c:smooth val="0"/>
          <c:extLst>
            <c:ext xmlns:c16="http://schemas.microsoft.com/office/drawing/2014/chart" uri="{C3380CC4-5D6E-409C-BE32-E72D297353CC}">
              <c16:uniqueId val="{00000003-FD36-424D-AD23-9B8C9A67BD1F}"/>
            </c:ext>
          </c:extLst>
        </c:ser>
        <c:dLbls>
          <c:showLegendKey val="0"/>
          <c:showVal val="0"/>
          <c:showCatName val="0"/>
          <c:showSerName val="0"/>
          <c:showPercent val="0"/>
          <c:showBubbleSize val="0"/>
        </c:dLbls>
        <c:smooth val="0"/>
        <c:axId val="757237584"/>
        <c:axId val="1244407728"/>
      </c:lineChart>
      <c:catAx>
        <c:axId val="75723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244407728"/>
        <c:crosses val="autoZero"/>
        <c:auto val="1"/>
        <c:lblAlgn val="ctr"/>
        <c:lblOffset val="100"/>
        <c:noMultiLvlLbl val="0"/>
      </c:catAx>
      <c:valAx>
        <c:axId val="12444077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5723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runnskolepoeng.xlsx]Pivot_tom_2023!Pivottabell4</c:name>
    <c:fmtId val="107"/>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a:solidFill>
                  <a:sysClr val="windowText" lastClr="000000"/>
                </a:solidFill>
                <a:latin typeface="Arial" panose="020B0604020202020204" pitchFamily="34" charset="0"/>
                <a:cs typeface="Arial" panose="020B0604020202020204" pitchFamily="34" charset="0"/>
              </a:rPr>
              <a:t>Grunnskolepoeng</a:t>
            </a:r>
            <a:r>
              <a:rPr lang="nb-NO" sz="1600" baseline="0">
                <a:solidFill>
                  <a:sysClr val="windowText" lastClr="000000"/>
                </a:solidFill>
                <a:latin typeface="Arial" panose="020B0604020202020204" pitchFamily="34" charset="0"/>
                <a:cs typeface="Arial" panose="020B0604020202020204" pitchFamily="34" charset="0"/>
              </a:rPr>
              <a:t> for begge kjønn, siste 5 år</a:t>
            </a:r>
            <a:endParaRPr lang="nb-NO" sz="1600">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7"/>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tom_2023!$B$4:$B$5</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Flekkefjord</c:v>
                </c:pt>
              </c:strCache>
            </c:strRef>
          </c:cat>
          <c:val>
            <c:numRef>
              <c:f>Pivot_tom_2023!$B$6:$B$8</c:f>
              <c:numCache>
                <c:formatCode>General</c:formatCode>
                <c:ptCount val="2"/>
                <c:pt idx="0">
                  <c:v>42.3</c:v>
                </c:pt>
                <c:pt idx="1">
                  <c:v>42.5</c:v>
                </c:pt>
              </c:numCache>
            </c:numRef>
          </c:val>
          <c:extLst>
            <c:ext xmlns:c16="http://schemas.microsoft.com/office/drawing/2014/chart" uri="{C3380CC4-5D6E-409C-BE32-E72D297353CC}">
              <c16:uniqueId val="{00000000-43E5-4D4A-BAC5-4166BC8E40F2}"/>
            </c:ext>
          </c:extLst>
        </c:ser>
        <c:ser>
          <c:idx val="1"/>
          <c:order val="1"/>
          <c:tx>
            <c:strRef>
              <c:f>Pivot_tom_2023!$C$4:$C$5</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Flekkefjord</c:v>
                </c:pt>
              </c:strCache>
            </c:strRef>
          </c:cat>
          <c:val>
            <c:numRef>
              <c:f>Pivot_tom_2023!$C$6:$C$8</c:f>
              <c:numCache>
                <c:formatCode>General</c:formatCode>
                <c:ptCount val="2"/>
                <c:pt idx="0">
                  <c:v>42.6</c:v>
                </c:pt>
                <c:pt idx="1">
                  <c:v>43</c:v>
                </c:pt>
              </c:numCache>
            </c:numRef>
          </c:val>
          <c:extLst>
            <c:ext xmlns:c16="http://schemas.microsoft.com/office/drawing/2014/chart" uri="{C3380CC4-5D6E-409C-BE32-E72D297353CC}">
              <c16:uniqueId val="{00000001-43E5-4D4A-BAC5-4166BC8E40F2}"/>
            </c:ext>
          </c:extLst>
        </c:ser>
        <c:ser>
          <c:idx val="2"/>
          <c:order val="2"/>
          <c:tx>
            <c:strRef>
              <c:f>Pivot_tom_2023!$D$4:$D$5</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Flekkefjord</c:v>
                </c:pt>
              </c:strCache>
            </c:strRef>
          </c:cat>
          <c:val>
            <c:numRef>
              <c:f>Pivot_tom_2023!$D$6:$D$8</c:f>
              <c:numCache>
                <c:formatCode>General</c:formatCode>
                <c:ptCount val="2"/>
                <c:pt idx="0">
                  <c:v>42.8</c:v>
                </c:pt>
                <c:pt idx="1">
                  <c:v>44</c:v>
                </c:pt>
              </c:numCache>
            </c:numRef>
          </c:val>
          <c:extLst>
            <c:ext xmlns:c16="http://schemas.microsoft.com/office/drawing/2014/chart" uri="{C3380CC4-5D6E-409C-BE32-E72D297353CC}">
              <c16:uniqueId val="{00000002-43E5-4D4A-BAC5-4166BC8E40F2}"/>
            </c:ext>
          </c:extLst>
        </c:ser>
        <c:ser>
          <c:idx val="3"/>
          <c:order val="3"/>
          <c:tx>
            <c:strRef>
              <c:f>Pivot_tom_2023!$E$4:$E$5</c:f>
              <c:strCache>
                <c:ptCount val="1"/>
                <c:pt idx="0">
                  <c:v>2023</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Flekkefjord</c:v>
                </c:pt>
              </c:strCache>
            </c:strRef>
          </c:cat>
          <c:val>
            <c:numRef>
              <c:f>Pivot_tom_2023!$E$6:$E$8</c:f>
              <c:numCache>
                <c:formatCode>General</c:formatCode>
                <c:ptCount val="2"/>
                <c:pt idx="0">
                  <c:v>41.5</c:v>
                </c:pt>
                <c:pt idx="1">
                  <c:v>41.1</c:v>
                </c:pt>
              </c:numCache>
            </c:numRef>
          </c:val>
          <c:extLst>
            <c:ext xmlns:c16="http://schemas.microsoft.com/office/drawing/2014/chart" uri="{C3380CC4-5D6E-409C-BE32-E72D297353CC}">
              <c16:uniqueId val="{00000003-43E5-4D4A-BAC5-4166BC8E40F2}"/>
            </c:ext>
          </c:extLst>
        </c:ser>
        <c:ser>
          <c:idx val="4"/>
          <c:order val="4"/>
          <c:tx>
            <c:strRef>
              <c:f>Pivot_tom_2023!$F$4:$F$5</c:f>
              <c:strCache>
                <c:ptCount val="1"/>
                <c:pt idx="0">
                  <c:v>202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Flekkefjord</c:v>
                </c:pt>
              </c:strCache>
            </c:strRef>
          </c:cat>
          <c:val>
            <c:numRef>
              <c:f>Pivot_tom_2023!$F$6:$F$8</c:f>
              <c:numCache>
                <c:formatCode>General</c:formatCode>
                <c:ptCount val="2"/>
                <c:pt idx="0">
                  <c:v>41.6</c:v>
                </c:pt>
                <c:pt idx="1">
                  <c:v>43.1</c:v>
                </c:pt>
              </c:numCache>
            </c:numRef>
          </c:val>
          <c:extLst>
            <c:ext xmlns:c16="http://schemas.microsoft.com/office/drawing/2014/chart" uri="{C3380CC4-5D6E-409C-BE32-E72D297353CC}">
              <c16:uniqueId val="{00000004-43E5-4D4A-BAC5-4166BC8E40F2}"/>
            </c:ext>
          </c:extLst>
        </c:ser>
        <c:dLbls>
          <c:showLegendKey val="0"/>
          <c:showVal val="0"/>
          <c:showCatName val="0"/>
          <c:showSerName val="0"/>
          <c:showPercent val="0"/>
          <c:showBubbleSize val="0"/>
        </c:dLbls>
        <c:gapWidth val="219"/>
        <c:axId val="1569500575"/>
        <c:axId val="1968699919"/>
      </c:barChart>
      <c:catAx>
        <c:axId val="1569500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968699919"/>
        <c:crosses val="autoZero"/>
        <c:auto val="1"/>
        <c:lblAlgn val="ctr"/>
        <c:lblOffset val="100"/>
        <c:noMultiLvlLbl val="0"/>
      </c:catAx>
      <c:valAx>
        <c:axId val="1968699919"/>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00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jennomføring_vgo.xlsx]bruk 2024!Pivottabell1</c:name>
    <c:fmtId val="28"/>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b="0">
                <a:solidFill>
                  <a:sysClr val="windowText" lastClr="000000"/>
                </a:solidFill>
                <a:latin typeface="Arial" panose="020B0604020202020204" pitchFamily="34" charset="0"/>
                <a:cs typeface="Arial" panose="020B0604020202020204" pitchFamily="34" charset="0"/>
              </a:rPr>
              <a:t>Gjennomføring vgo, begge kjønn, alle utdanningsprogram</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dLbl>
          <c:idx val="0"/>
          <c:showLegendKey val="0"/>
          <c:showVal val="1"/>
          <c:showCatName val="0"/>
          <c:showSerName val="0"/>
          <c:showPercent val="0"/>
          <c:showBubbleSize val="0"/>
          <c:extLst>
            <c:ext xmlns:c15="http://schemas.microsoft.com/office/drawing/2012/chart" uri="{CE6537A1-D6FC-4f65-9D91-7224C49458BB}"/>
          </c:extLst>
        </c:dLbl>
      </c:pivotFmt>
      <c:pivotFmt>
        <c:idx val="32"/>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showLegendKey val="0"/>
          <c:showVal val="1"/>
          <c:showCatName val="0"/>
          <c:showSerName val="0"/>
          <c:showPercent val="0"/>
          <c:showBubbleSize val="0"/>
          <c:extLst>
            <c:ext xmlns:c15="http://schemas.microsoft.com/office/drawing/2012/chart" uri="{CE6537A1-D6FC-4f65-9D91-7224C49458BB}"/>
          </c:extLst>
        </c:dLbl>
      </c:pivotFmt>
      <c:pivotFmt>
        <c:idx val="34"/>
        <c:dLbl>
          <c:idx val="0"/>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2"/>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ruk 2024'!$B$5:$B$6</c:f>
              <c:strCache>
                <c:ptCount val="1"/>
                <c:pt idx="0">
                  <c:v>Agd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B$7:$B$12</c:f>
              <c:numCache>
                <c:formatCode>General</c:formatCode>
                <c:ptCount val="5"/>
                <c:pt idx="0">
                  <c:v>78.099999999999994</c:v>
                </c:pt>
                <c:pt idx="1">
                  <c:v>78</c:v>
                </c:pt>
                <c:pt idx="2">
                  <c:v>80</c:v>
                </c:pt>
                <c:pt idx="3">
                  <c:v>80.900000000000006</c:v>
                </c:pt>
                <c:pt idx="4">
                  <c:v>83.6</c:v>
                </c:pt>
              </c:numCache>
            </c:numRef>
          </c:val>
          <c:extLst>
            <c:ext xmlns:c16="http://schemas.microsoft.com/office/drawing/2014/chart" uri="{C3380CC4-5D6E-409C-BE32-E72D297353CC}">
              <c16:uniqueId val="{00000000-B30B-4C8C-9825-B28DA454B331}"/>
            </c:ext>
          </c:extLst>
        </c:ser>
        <c:ser>
          <c:idx val="1"/>
          <c:order val="1"/>
          <c:tx>
            <c:strRef>
              <c:f>'bruk 2024'!$C$5:$C$6</c:f>
              <c:strCache>
                <c:ptCount val="1"/>
                <c:pt idx="0">
                  <c:v>Flekkefjor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C$7:$C$12</c:f>
              <c:numCache>
                <c:formatCode>General</c:formatCode>
                <c:ptCount val="5"/>
                <c:pt idx="0">
                  <c:v>81.099999999999994</c:v>
                </c:pt>
                <c:pt idx="1">
                  <c:v>78.400000000000006</c:v>
                </c:pt>
                <c:pt idx="2">
                  <c:v>87.2</c:v>
                </c:pt>
                <c:pt idx="3">
                  <c:v>86.6</c:v>
                </c:pt>
                <c:pt idx="4">
                  <c:v>85</c:v>
                </c:pt>
              </c:numCache>
            </c:numRef>
          </c:val>
          <c:extLst>
            <c:ext xmlns:c16="http://schemas.microsoft.com/office/drawing/2014/chart" uri="{C3380CC4-5D6E-409C-BE32-E72D297353CC}">
              <c16:uniqueId val="{00000001-B30B-4C8C-9825-B28DA454B331}"/>
            </c:ext>
          </c:extLst>
        </c:ser>
        <c:dLbls>
          <c:showLegendKey val="0"/>
          <c:showVal val="0"/>
          <c:showCatName val="0"/>
          <c:showSerName val="0"/>
          <c:showPercent val="0"/>
          <c:showBubbleSize val="0"/>
        </c:dLbls>
        <c:gapWidth val="219"/>
        <c:overlap val="-27"/>
        <c:axId val="490383760"/>
        <c:axId val="490382800"/>
      </c:barChart>
      <c:catAx>
        <c:axId val="49038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2800"/>
        <c:crosses val="autoZero"/>
        <c:auto val="1"/>
        <c:lblAlgn val="ctr"/>
        <c:lblOffset val="100"/>
        <c:noMultiLvlLbl val="0"/>
      </c:catAx>
      <c:valAx>
        <c:axId val="490382800"/>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376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lærekotrakter per 1000 innbyggere, privat sektor, 09.2023</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18.09.23 - privat'!$B$1</c:f>
              <c:strCache>
                <c:ptCount val="1"/>
                <c:pt idx="0">
                  <c:v>Antall lærekotrakter per 1000 innbyggere</c:v>
                </c:pt>
              </c:strCache>
            </c:strRef>
          </c:tx>
          <c:spPr>
            <a:solidFill>
              <a:srgbClr val="002060"/>
            </a:solidFill>
            <a:ln>
              <a:noFill/>
            </a:ln>
            <a:effectLst/>
          </c:spPr>
          <c:invertIfNegative val="0"/>
          <c:dPt>
            <c:idx val="20"/>
            <c:invertIfNegative val="0"/>
            <c:bubble3D val="0"/>
            <c:spPr>
              <a:solidFill>
                <a:srgbClr val="002060"/>
              </a:solidFill>
              <a:ln>
                <a:noFill/>
              </a:ln>
              <a:effectLst/>
            </c:spPr>
            <c:extLst>
              <c:ext xmlns:c16="http://schemas.microsoft.com/office/drawing/2014/chart" uri="{C3380CC4-5D6E-409C-BE32-E72D297353CC}">
                <c16:uniqueId val="{00000001-9D38-4F4C-BE7D-92AB0704EF06}"/>
              </c:ext>
            </c:extLst>
          </c:dPt>
          <c:dPt>
            <c:idx val="24"/>
            <c:invertIfNegative val="0"/>
            <c:bubble3D val="0"/>
            <c:spPr>
              <a:solidFill>
                <a:srgbClr val="00B050"/>
              </a:solidFill>
              <a:ln>
                <a:noFill/>
              </a:ln>
              <a:effectLst/>
            </c:spPr>
            <c:extLst>
              <c:ext xmlns:c16="http://schemas.microsoft.com/office/drawing/2014/chart" uri="{C3380CC4-5D6E-409C-BE32-E72D297353CC}">
                <c16:uniqueId val="{00000003-9D38-4F4C-BE7D-92AB0704EF06}"/>
              </c:ext>
            </c:extLst>
          </c:dPt>
          <c:cat>
            <c:strRef>
              <c:f>'[Lærekontrakter_180923.xlsx]18.09.23 - privat'!$A$2:$A$26</c:f>
              <c:strCache>
                <c:ptCount val="25"/>
                <c:pt idx="0">
                  <c:v>Iveland</c:v>
                </c:pt>
                <c:pt idx="1">
                  <c:v>Vegårshei</c:v>
                </c:pt>
                <c:pt idx="2">
                  <c:v>Hægebostad</c:v>
                </c:pt>
                <c:pt idx="3">
                  <c:v>Gjerstad</c:v>
                </c:pt>
                <c:pt idx="4">
                  <c:v>Sirdal</c:v>
                </c:pt>
                <c:pt idx="5">
                  <c:v>Lillesand</c:v>
                </c:pt>
                <c:pt idx="6">
                  <c:v>Tvedestrand</c:v>
                </c:pt>
                <c:pt idx="7">
                  <c:v>Åseral</c:v>
                </c:pt>
                <c:pt idx="8">
                  <c:v>Valle</c:v>
                </c:pt>
                <c:pt idx="9">
                  <c:v>Froland</c:v>
                </c:pt>
                <c:pt idx="10">
                  <c:v>Vennesla</c:v>
                </c:pt>
                <c:pt idx="11">
                  <c:v>Arendal</c:v>
                </c:pt>
                <c:pt idx="12">
                  <c:v>Risør</c:v>
                </c:pt>
                <c:pt idx="13">
                  <c:v>Kvinesdal</c:v>
                </c:pt>
                <c:pt idx="14">
                  <c:v>Bykle</c:v>
                </c:pt>
                <c:pt idx="15">
                  <c:v>Farsund</c:v>
                </c:pt>
                <c:pt idx="16">
                  <c:v>Lyngdal</c:v>
                </c:pt>
                <c:pt idx="17">
                  <c:v>Grimstad</c:v>
                </c:pt>
                <c:pt idx="18">
                  <c:v>Bygland</c:v>
                </c:pt>
                <c:pt idx="19">
                  <c:v>Åmli</c:v>
                </c:pt>
                <c:pt idx="20">
                  <c:v>Birkenes</c:v>
                </c:pt>
                <c:pt idx="21">
                  <c:v>Kristiansand</c:v>
                </c:pt>
                <c:pt idx="22">
                  <c:v>Evje og Hornnes</c:v>
                </c:pt>
                <c:pt idx="23">
                  <c:v>Lindesnes</c:v>
                </c:pt>
                <c:pt idx="24">
                  <c:v>Flekkefjord</c:v>
                </c:pt>
              </c:strCache>
            </c:strRef>
          </c:cat>
          <c:val>
            <c:numRef>
              <c:f>'[Lærekontrakter_180923.xlsx]18.09.23 - privat'!$B$2:$B$26</c:f>
              <c:numCache>
                <c:formatCode>0.0</c:formatCode>
                <c:ptCount val="25"/>
                <c:pt idx="0">
                  <c:v>1.4880952380952379</c:v>
                </c:pt>
                <c:pt idx="1">
                  <c:v>3.7435657463734211</c:v>
                </c:pt>
                <c:pt idx="2">
                  <c:v>4.5714285714285721</c:v>
                </c:pt>
                <c:pt idx="3">
                  <c:v>4.9566294919454768</c:v>
                </c:pt>
                <c:pt idx="4">
                  <c:v>5.4436581382689164</c:v>
                </c:pt>
                <c:pt idx="5">
                  <c:v>6.3052806725632715</c:v>
                </c:pt>
                <c:pt idx="6">
                  <c:v>6.4683053040103493</c:v>
                </c:pt>
                <c:pt idx="7">
                  <c:v>6.5861690450054882</c:v>
                </c:pt>
                <c:pt idx="8">
                  <c:v>6.7796610169491522</c:v>
                </c:pt>
                <c:pt idx="9">
                  <c:v>6.9646906381600253</c:v>
                </c:pt>
                <c:pt idx="10">
                  <c:v>7.1923630181770628</c:v>
                </c:pt>
                <c:pt idx="11">
                  <c:v>7.2732866026500256</c:v>
                </c:pt>
                <c:pt idx="12">
                  <c:v>7.3464590067587423</c:v>
                </c:pt>
                <c:pt idx="13">
                  <c:v>7.8021248339973441</c:v>
                </c:pt>
                <c:pt idx="14">
                  <c:v>8.0402010050251267</c:v>
                </c:pt>
                <c:pt idx="15">
                  <c:v>8.215010141987829</c:v>
                </c:pt>
                <c:pt idx="16">
                  <c:v>8.6503581062226775</c:v>
                </c:pt>
                <c:pt idx="17">
                  <c:v>8.6631146540854918</c:v>
                </c:pt>
                <c:pt idx="18">
                  <c:v>8.8028169014084519</c:v>
                </c:pt>
                <c:pt idx="19">
                  <c:v>8.9585666293393054</c:v>
                </c:pt>
                <c:pt idx="20">
                  <c:v>9.0909090909090899</c:v>
                </c:pt>
                <c:pt idx="21">
                  <c:v>10.61220183405576</c:v>
                </c:pt>
                <c:pt idx="22">
                  <c:v>11.014344262295083</c:v>
                </c:pt>
                <c:pt idx="23">
                  <c:v>11.371864219089398</c:v>
                </c:pt>
                <c:pt idx="24">
                  <c:v>11.610243055555555</c:v>
                </c:pt>
              </c:numCache>
            </c:numRef>
          </c:val>
          <c:extLst>
            <c:ext xmlns:c16="http://schemas.microsoft.com/office/drawing/2014/chart" uri="{C3380CC4-5D6E-409C-BE32-E72D297353CC}">
              <c16:uniqueId val="{00000002-9D38-4F4C-BE7D-92AB0704EF06}"/>
            </c:ext>
          </c:extLst>
        </c:ser>
        <c:dLbls>
          <c:showLegendKey val="0"/>
          <c:showVal val="0"/>
          <c:showCatName val="0"/>
          <c:showSerName val="0"/>
          <c:showPercent val="0"/>
          <c:showBubbleSize val="0"/>
        </c:dLbls>
        <c:gapWidth val="219"/>
        <c:overlap val="-27"/>
        <c:axId val="763938200"/>
        <c:axId val="763933280"/>
      </c:barChart>
      <c:catAx>
        <c:axId val="763938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3280"/>
        <c:crosses val="autoZero"/>
        <c:auto val="1"/>
        <c:lblAlgn val="ctr"/>
        <c:lblOffset val="100"/>
        <c:noMultiLvlLbl val="0"/>
      </c:catAx>
      <c:valAx>
        <c:axId val="7639332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8200"/>
        <c:crosses val="autoZero"/>
        <c:crossBetween val="between"/>
      </c:valAx>
      <c:spPr>
        <a:noFill/>
        <a:ln>
          <a:noFill/>
        </a:ln>
        <a:effectLst/>
      </c:spPr>
    </c:plotArea>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Lærekontrakter per 1000 innbyggere, kommunal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 - kommune'!$B$1</c:f>
              <c:strCache>
                <c:ptCount val="1"/>
                <c:pt idx="0">
                  <c:v>Antall kontrakter per 1000 innbyggere</c:v>
                </c:pt>
              </c:strCache>
            </c:strRef>
          </c:tx>
          <c:spPr>
            <a:solidFill>
              <a:srgbClr val="002060"/>
            </a:solidFill>
            <a:ln>
              <a:noFill/>
            </a:ln>
            <a:effectLst/>
          </c:spPr>
          <c:invertIfNegative val="0"/>
          <c:dPt>
            <c:idx val="0"/>
            <c:invertIfNegative val="0"/>
            <c:bubble3D val="0"/>
            <c:spPr>
              <a:solidFill>
                <a:srgbClr val="002060"/>
              </a:solidFill>
              <a:ln>
                <a:noFill/>
              </a:ln>
              <a:effectLst/>
            </c:spPr>
            <c:extLst>
              <c:ext xmlns:c16="http://schemas.microsoft.com/office/drawing/2014/chart" uri="{C3380CC4-5D6E-409C-BE32-E72D297353CC}">
                <c16:uniqueId val="{00000001-B31A-4941-9A98-69FB5886773E}"/>
              </c:ext>
            </c:extLst>
          </c:dPt>
          <c:dPt>
            <c:idx val="15"/>
            <c:invertIfNegative val="0"/>
            <c:bubble3D val="0"/>
            <c:spPr>
              <a:solidFill>
                <a:schemeClr val="accent1"/>
              </a:solidFill>
              <a:ln>
                <a:noFill/>
              </a:ln>
              <a:effectLst/>
            </c:spPr>
            <c:extLst>
              <c:ext xmlns:c16="http://schemas.microsoft.com/office/drawing/2014/chart" uri="{C3380CC4-5D6E-409C-BE32-E72D297353CC}">
                <c16:uniqueId val="{00000004-B31A-4941-9A98-69FB5886773E}"/>
              </c:ext>
            </c:extLst>
          </c:dPt>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B$2:$B$26</c:f>
              <c:numCache>
                <c:formatCode>0.0</c:formatCode>
                <c:ptCount val="25"/>
                <c:pt idx="0">
                  <c:v>0.6</c:v>
                </c:pt>
                <c:pt idx="1">
                  <c:v>1.3</c:v>
                </c:pt>
                <c:pt idx="2">
                  <c:v>1.5</c:v>
                </c:pt>
                <c:pt idx="3">
                  <c:v>1.8</c:v>
                </c:pt>
                <c:pt idx="4">
                  <c:v>1.8</c:v>
                </c:pt>
                <c:pt idx="5">
                  <c:v>1.8</c:v>
                </c:pt>
                <c:pt idx="6">
                  <c:v>1.9</c:v>
                </c:pt>
                <c:pt idx="7">
                  <c:v>2</c:v>
                </c:pt>
                <c:pt idx="8">
                  <c:v>2</c:v>
                </c:pt>
                <c:pt idx="9">
                  <c:v>2.1</c:v>
                </c:pt>
                <c:pt idx="10">
                  <c:v>2.2999999999999998</c:v>
                </c:pt>
                <c:pt idx="11">
                  <c:v>2.2999999999999998</c:v>
                </c:pt>
                <c:pt idx="12">
                  <c:v>2.2999999999999998</c:v>
                </c:pt>
                <c:pt idx="13">
                  <c:v>2.5</c:v>
                </c:pt>
                <c:pt idx="14">
                  <c:v>2.6</c:v>
                </c:pt>
                <c:pt idx="15">
                  <c:v>2.6</c:v>
                </c:pt>
                <c:pt idx="16">
                  <c:v>2.9</c:v>
                </c:pt>
                <c:pt idx="17">
                  <c:v>3</c:v>
                </c:pt>
                <c:pt idx="18">
                  <c:v>3</c:v>
                </c:pt>
                <c:pt idx="19">
                  <c:v>3.3</c:v>
                </c:pt>
                <c:pt idx="20">
                  <c:v>3.6</c:v>
                </c:pt>
                <c:pt idx="21">
                  <c:v>3.7</c:v>
                </c:pt>
                <c:pt idx="22">
                  <c:v>3.8</c:v>
                </c:pt>
                <c:pt idx="23">
                  <c:v>4.3</c:v>
                </c:pt>
                <c:pt idx="24">
                  <c:v>8</c:v>
                </c:pt>
              </c:numCache>
            </c:numRef>
          </c:val>
          <c:extLst>
            <c:ext xmlns:c16="http://schemas.microsoft.com/office/drawing/2014/chart" uri="{C3380CC4-5D6E-409C-BE32-E72D297353CC}">
              <c16:uniqueId val="{00000002-B31A-4941-9A98-69FB5886773E}"/>
            </c:ext>
          </c:extLst>
        </c:ser>
        <c:dLbls>
          <c:showLegendKey val="0"/>
          <c:showVal val="0"/>
          <c:showCatName val="0"/>
          <c:showSerName val="0"/>
          <c:showPercent val="0"/>
          <c:showBubbleSize val="0"/>
        </c:dLbls>
        <c:gapWidth val="150"/>
        <c:axId val="488660200"/>
        <c:axId val="488652328"/>
      </c:barChart>
      <c:lineChart>
        <c:grouping val="standard"/>
        <c:varyColors val="0"/>
        <c:ser>
          <c:idx val="1"/>
          <c:order val="1"/>
          <c:tx>
            <c:strRef>
              <c:f>'[Lærekontrakter_180923.xlsx]08.11.24 - kommune'!$C$1</c:f>
              <c:strCache>
                <c:ptCount val="1"/>
                <c:pt idx="0">
                  <c:v>Målsetning antall kontrakter per 1000</c:v>
                </c:pt>
              </c:strCache>
            </c:strRef>
          </c:tx>
          <c:spPr>
            <a:ln w="28575" cap="rnd">
              <a:solidFill>
                <a:schemeClr val="tx1"/>
              </a:solidFill>
              <a:prstDash val="dash"/>
              <a:round/>
            </a:ln>
            <a:effectLst/>
          </c:spPr>
          <c:marker>
            <c:symbol val="none"/>
          </c:marker>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C$2:$C$26</c:f>
              <c:numCache>
                <c:formatCode>General</c:formatCode>
                <c:ptCount val="25"/>
                <c:pt idx="0">
                  <c:v>3</c:v>
                </c:pt>
                <c:pt idx="1">
                  <c:v>3</c:v>
                </c:pt>
                <c:pt idx="2">
                  <c:v>3</c:v>
                </c:pt>
                <c:pt idx="3">
                  <c:v>3</c:v>
                </c:pt>
                <c:pt idx="4">
                  <c:v>3</c:v>
                </c:pt>
                <c:pt idx="5">
                  <c:v>3</c:v>
                </c:pt>
                <c:pt idx="6">
                  <c:v>3</c:v>
                </c:pt>
                <c:pt idx="7">
                  <c:v>3</c:v>
                </c:pt>
                <c:pt idx="8">
                  <c:v>3</c:v>
                </c:pt>
                <c:pt idx="9">
                  <c:v>3</c:v>
                </c:pt>
                <c:pt idx="10">
                  <c:v>3</c:v>
                </c:pt>
                <c:pt idx="11">
                  <c:v>3</c:v>
                </c:pt>
                <c:pt idx="12">
                  <c:v>3</c:v>
                </c:pt>
                <c:pt idx="13">
                  <c:v>3</c:v>
                </c:pt>
                <c:pt idx="14">
                  <c:v>3</c:v>
                </c:pt>
                <c:pt idx="15">
                  <c:v>3</c:v>
                </c:pt>
                <c:pt idx="16">
                  <c:v>3</c:v>
                </c:pt>
                <c:pt idx="17">
                  <c:v>3</c:v>
                </c:pt>
                <c:pt idx="18">
                  <c:v>3</c:v>
                </c:pt>
                <c:pt idx="19">
                  <c:v>3</c:v>
                </c:pt>
                <c:pt idx="20">
                  <c:v>3</c:v>
                </c:pt>
                <c:pt idx="21">
                  <c:v>3</c:v>
                </c:pt>
                <c:pt idx="22">
                  <c:v>3</c:v>
                </c:pt>
                <c:pt idx="23">
                  <c:v>3</c:v>
                </c:pt>
                <c:pt idx="24">
                  <c:v>3</c:v>
                </c:pt>
              </c:numCache>
            </c:numRef>
          </c:val>
          <c:smooth val="0"/>
          <c:extLst>
            <c:ext xmlns:c16="http://schemas.microsoft.com/office/drawing/2014/chart" uri="{C3380CC4-5D6E-409C-BE32-E72D297353CC}">
              <c16:uniqueId val="{00000003-B31A-4941-9A98-69FB5886773E}"/>
            </c:ext>
          </c:extLst>
        </c:ser>
        <c:dLbls>
          <c:showLegendKey val="0"/>
          <c:showVal val="0"/>
          <c:showCatName val="0"/>
          <c:showSerName val="0"/>
          <c:showPercent val="0"/>
          <c:showBubbleSize val="0"/>
        </c:dLbls>
        <c:marker val="1"/>
        <c:smooth val="0"/>
        <c:axId val="488660200"/>
        <c:axId val="488652328"/>
      </c:lineChart>
      <c:catAx>
        <c:axId val="488660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52328"/>
        <c:crosses val="autoZero"/>
        <c:auto val="1"/>
        <c:lblAlgn val="ctr"/>
        <c:lblOffset val="100"/>
        <c:noMultiLvlLbl val="0"/>
      </c:catAx>
      <c:valAx>
        <c:axId val="488652328"/>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60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ektorfordelt_sysselsetting_tabell_13472_13470.xlsx]Pivot 2023'!$D$4:$D$19</cx:f>
        <cx:lvl ptCount="16">
          <cx:pt idx="0">01-03 Jordbruk, skogbruk og fiske</cx:pt>
          <cx:pt idx="1">05-09 Bergverksdrift og utvinning</cx:pt>
          <cx:pt idx="2">10-33 Industri</cx:pt>
          <cx:pt idx="3">35-39 Elektrisitet, vann og renovasjon</cx:pt>
          <cx:pt idx="4">41-43 Bygge- og anleggsvirksomhet</cx:pt>
          <cx:pt idx="5">45-47 Varehandel, reparasjon av motorvogner</cx:pt>
          <cx:pt idx="6">49-53 Transport og lagring</cx:pt>
          <cx:pt idx="7">55-56 Overnattings- og serveringsvirksomhet</cx:pt>
          <cx:pt idx="8">58-63 Informasjon og kommunikasjon</cx:pt>
          <cx:pt idx="9">64-66 Finansiering og forsikring</cx:pt>
          <cx:pt idx="10">68-75 Teknisk tjenesteyting, eiendomsdrift</cx:pt>
          <cx:pt idx="11">77-82 Forretningsmessig tjenesteyting</cx:pt>
          <cx:pt idx="12">84 Off.adm., forsvar, sosialforsikring</cx:pt>
          <cx:pt idx="13">85 Undervisning</cx:pt>
          <cx:pt idx="14">86-88 Helse- og sosialtjenester</cx:pt>
          <cx:pt idx="15">90-99 Personlig tjenesteyting</cx:pt>
        </cx:lvl>
      </cx:strDim>
      <cx:numDim type="size">
        <cx:f>'[Sektorfordelt_sysselsetting_tabell_13472_13470.xlsx]Pivot 2023'!$E$4:$E$19</cx:f>
        <cx:lvl ptCount="16" formatCode="Standard">
          <cx:pt idx="0">168</cx:pt>
          <cx:pt idx="1">3</cx:pt>
          <cx:pt idx="2">671</cx:pt>
          <cx:pt idx="3">45</cx:pt>
          <cx:pt idx="4">438</cx:pt>
          <cx:pt idx="5">443</cx:pt>
          <cx:pt idx="6">127</cx:pt>
          <cx:pt idx="7">103</cx:pt>
          <cx:pt idx="8">33</cx:pt>
          <cx:pt idx="9">77</cx:pt>
          <cx:pt idx="10">150</cx:pt>
          <cx:pt idx="11">109</cx:pt>
          <cx:pt idx="12">166</cx:pt>
          <cx:pt idx="13">368</cx:pt>
          <cx:pt idx="14">1321</cx:pt>
          <cx:pt idx="15">91</cx:pt>
        </cx:lvl>
      </cx:numDim>
    </cx:data>
  </cx:chartData>
  <cx:chart>
    <cx:plotArea>
      <cx:plotAreaRegion>
        <cx:series layoutId="treemap" uniqueId="{DFD13C0B-3AF2-427D-AA18-6545C6E0104E}">
          <cx:dataLabels pos="inEnd">
            <cx:visibility seriesName="0" categoryName="1" value="0"/>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EE73C5-C997-499E-A546-ACB60DEDD833}" type="datetimeFigureOut">
              <a:rPr lang="nb-NO" smtClean="0"/>
              <a:t>11.11.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BD18A2-FE98-4292-85DF-71FBFE3CE1A8}" type="slidenum">
              <a:rPr lang="nb-NO" smtClean="0"/>
              <a:t>‹#›</a:t>
            </a:fld>
            <a:endParaRPr lang="nb-NO"/>
          </a:p>
        </p:txBody>
      </p:sp>
    </p:spTree>
    <p:extLst>
      <p:ext uri="{BB962C8B-B14F-4D97-AF65-F5344CB8AC3E}">
        <p14:creationId xmlns:p14="http://schemas.microsoft.com/office/powerpoint/2010/main" val="14989659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solidFill>
                  <a:schemeClr val="tx1"/>
                </a:solidFill>
              </a:rPr>
              <a:t>Gjennomsnittsalder Flekkefjord samlet for hele befolkningen: 42,2 år (SSB – 2024)</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a:solidFill>
                  <a:schemeClr val="tx1"/>
                </a:solidFill>
              </a:rPr>
              <a:t>Gjennomsnittsalder Agder: alle 40,7</a:t>
            </a:r>
            <a:r>
              <a:rPr lang="nb-NO" sz="1200" baseline="0">
                <a:solidFill>
                  <a:schemeClr val="tx1"/>
                </a:solidFill>
              </a:rPr>
              <a:t> – menn 40,0 – kvinner 41,4 </a:t>
            </a:r>
            <a:r>
              <a:rPr lang="nb-NO" sz="1200">
                <a:solidFill>
                  <a:schemeClr val="tx1"/>
                </a:solidFill>
              </a:rPr>
              <a:t>(SSB – 2024)</a:t>
            </a:r>
            <a:endParaRPr lang="nb-NO" sz="1200" baseline="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a:solidFill>
                  <a:schemeClr val="tx1"/>
                </a:solidFill>
              </a:rPr>
              <a:t>Gjennomsnittsalder Norge: alle 40,8</a:t>
            </a:r>
            <a:r>
              <a:rPr lang="nb-NO" sz="1200" baseline="0">
                <a:solidFill>
                  <a:schemeClr val="tx1"/>
                </a:solidFill>
              </a:rPr>
              <a:t> – menn 40,2 – kvinner 41,5 </a:t>
            </a:r>
            <a:r>
              <a:rPr lang="nb-NO" sz="1200">
                <a:solidFill>
                  <a:schemeClr val="tx1"/>
                </a:solidFill>
              </a:rPr>
              <a:t>(SSB – 2024)</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a:solidFill>
                  <a:schemeClr val="tx1"/>
                </a:solidFill>
              </a:rPr>
              <a:t>Forventa levealder Agder: menn 79,9</a:t>
            </a:r>
            <a:r>
              <a:rPr lang="nn-NO" sz="1200" baseline="0" noProof="0">
                <a:solidFill>
                  <a:schemeClr val="tx1"/>
                </a:solidFill>
              </a:rPr>
              <a:t> - kvinner </a:t>
            </a:r>
            <a:r>
              <a:rPr lang="nn-NO" sz="1200" noProof="0">
                <a:solidFill>
                  <a:schemeClr val="tx1"/>
                </a:solidFill>
              </a:rPr>
              <a:t>83,8 (Tall</a:t>
            </a:r>
            <a:r>
              <a:rPr lang="nn-NO" sz="1200" baseline="0" noProof="0">
                <a:solidFill>
                  <a:schemeClr val="tx1"/>
                </a:solidFill>
              </a:rPr>
              <a:t> er gjennomsnitt</a:t>
            </a:r>
            <a:r>
              <a:rPr lang="nn-NO" sz="1200" noProof="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a:solidFill>
                  <a:schemeClr val="tx1"/>
                </a:solidFill>
              </a:rPr>
              <a:t>Forventet levealder </a:t>
            </a:r>
            <a:r>
              <a:rPr lang="nb-NO"/>
              <a:t>Norge: menn 80,3</a:t>
            </a:r>
            <a:r>
              <a:rPr lang="nb-NO" baseline="0"/>
              <a:t> -</a:t>
            </a:r>
            <a:r>
              <a:rPr lang="nb-NO"/>
              <a:t> kvinner 84,0 </a:t>
            </a:r>
            <a:r>
              <a:rPr lang="nn-NO" sz="1200" noProof="0">
                <a:solidFill>
                  <a:schemeClr val="tx1"/>
                </a:solidFill>
              </a:rPr>
              <a:t>(Tall</a:t>
            </a:r>
            <a:r>
              <a:rPr lang="nn-NO" sz="1200" baseline="0" noProof="0">
                <a:solidFill>
                  <a:schemeClr val="tx1"/>
                </a:solidFill>
              </a:rPr>
              <a:t> er gjennomsnitt</a:t>
            </a:r>
            <a:r>
              <a:rPr lang="nn-NO" sz="1200" noProof="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a:solidFill>
                  <a:schemeClr val="tx1"/>
                </a:solidFill>
              </a:rPr>
              <a:t>Alle areal tall (2024), </a:t>
            </a:r>
            <a:r>
              <a:rPr lang="nn-NO" sz="1200" noProof="0" err="1">
                <a:solidFill>
                  <a:schemeClr val="tx1"/>
                </a:solidFill>
              </a:rPr>
              <a:t>Folketall</a:t>
            </a:r>
            <a:r>
              <a:rPr lang="nn-NO" sz="1200" noProof="0">
                <a:solidFill>
                  <a:schemeClr val="tx1"/>
                </a:solidFill>
              </a:rPr>
              <a:t> (2024), </a:t>
            </a:r>
            <a:r>
              <a:rPr lang="nn-NO" sz="1200" noProof="0" err="1">
                <a:solidFill>
                  <a:schemeClr val="tx1"/>
                </a:solidFill>
              </a:rPr>
              <a:t>Andel</a:t>
            </a:r>
            <a:r>
              <a:rPr lang="nn-NO" sz="1200" baseline="0" noProof="0">
                <a:solidFill>
                  <a:schemeClr val="tx1"/>
                </a:solidFill>
              </a:rPr>
              <a:t> kvinner (2024), </a:t>
            </a:r>
            <a:r>
              <a:rPr lang="nn-NO" sz="1200" baseline="0" noProof="0" err="1">
                <a:solidFill>
                  <a:schemeClr val="tx1"/>
                </a:solidFill>
              </a:rPr>
              <a:t>Andel</a:t>
            </a:r>
            <a:r>
              <a:rPr lang="nn-NO" sz="1200" baseline="0" noProof="0">
                <a:solidFill>
                  <a:schemeClr val="tx1"/>
                </a:solidFill>
              </a:rPr>
              <a:t> i </a:t>
            </a:r>
            <a:r>
              <a:rPr lang="nn-NO" sz="1200" baseline="0" noProof="0" err="1">
                <a:solidFill>
                  <a:schemeClr val="tx1"/>
                </a:solidFill>
              </a:rPr>
              <a:t>tettsted</a:t>
            </a:r>
            <a:r>
              <a:rPr lang="nn-NO" sz="1200" baseline="0" noProof="0">
                <a:solidFill>
                  <a:schemeClr val="tx1"/>
                </a:solidFill>
              </a:rPr>
              <a:t> (2023), </a:t>
            </a:r>
            <a:r>
              <a:rPr lang="nn-NO" sz="1200" baseline="0" noProof="0" err="1">
                <a:solidFill>
                  <a:schemeClr val="tx1"/>
                </a:solidFill>
              </a:rPr>
              <a:t>Personer</a:t>
            </a:r>
            <a:r>
              <a:rPr lang="nn-NO" sz="1200" baseline="0" noProof="0">
                <a:solidFill>
                  <a:schemeClr val="tx1"/>
                </a:solidFill>
              </a:rPr>
              <a:t> per </a:t>
            </a:r>
            <a:r>
              <a:rPr lang="nn-NO" sz="1200" baseline="0" noProof="0" err="1">
                <a:solidFill>
                  <a:schemeClr val="tx1"/>
                </a:solidFill>
              </a:rPr>
              <a:t>husholdning</a:t>
            </a:r>
            <a:r>
              <a:rPr lang="nn-NO" sz="1200" baseline="0" noProof="0">
                <a:solidFill>
                  <a:schemeClr val="tx1"/>
                </a:solidFill>
              </a:rPr>
              <a:t> (2023), </a:t>
            </a:r>
            <a:r>
              <a:rPr lang="nn-NO" sz="1200" baseline="0" noProof="0" err="1">
                <a:solidFill>
                  <a:schemeClr val="tx1"/>
                </a:solidFill>
              </a:rPr>
              <a:t>Elevtall</a:t>
            </a:r>
            <a:r>
              <a:rPr lang="nn-NO" sz="1200" baseline="0" noProof="0">
                <a:solidFill>
                  <a:schemeClr val="tx1"/>
                </a:solidFill>
              </a:rPr>
              <a:t> (2023-24), Distriktsindeks (2023).</a:t>
            </a:r>
            <a:r>
              <a:rPr lang="nn-NO" sz="1200" noProof="0">
                <a:solidFill>
                  <a:schemeClr val="tx1"/>
                </a:solidFill>
              </a:rPr>
              <a:t> </a:t>
            </a:r>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2</a:t>
            </a:fld>
            <a:endParaRPr lang="nb-NO"/>
          </a:p>
        </p:txBody>
      </p:sp>
    </p:spTree>
    <p:extLst>
      <p:ext uri="{BB962C8B-B14F-4D97-AF65-F5344CB8AC3E}">
        <p14:creationId xmlns:p14="http://schemas.microsoft.com/office/powerpoint/2010/main" val="35073853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0" dirty="0"/>
              <a:t>2024 – 8. </a:t>
            </a:r>
            <a:r>
              <a:rPr lang="nb-NO" b="0"/>
              <a:t>november – Agder – kommunal sektor 680</a:t>
            </a:r>
          </a:p>
          <a:p>
            <a:r>
              <a:rPr lang="nb-NO" b="0"/>
              <a:t>2023 </a:t>
            </a:r>
            <a:r>
              <a:rPr lang="nb-NO" b="0" dirty="0"/>
              <a:t>– 18. september – Agder – Alle sektorer 3519 - privat sektor 2841 - kommunal sektor 678</a:t>
            </a:r>
          </a:p>
          <a:p>
            <a:r>
              <a:rPr lang="nb-NO" b="0" dirty="0"/>
              <a:t>2022 – 9. september – Agder – Alle</a:t>
            </a:r>
            <a:r>
              <a:rPr lang="nb-NO" b="0" baseline="0" dirty="0"/>
              <a:t> sektorer 3406 – privat sektor 2615 – kommunal sektor 652</a:t>
            </a:r>
            <a:endParaRPr lang="nb-NO" b="0" dirty="0"/>
          </a:p>
          <a:p>
            <a:r>
              <a:rPr lang="nb-NO" b="0" dirty="0"/>
              <a:t>2021 – september - Agder </a:t>
            </a:r>
            <a:r>
              <a:rPr lang="nb-NO" dirty="0"/>
              <a:t>– </a:t>
            </a:r>
            <a:r>
              <a:rPr lang="nb-NO" b="0" dirty="0"/>
              <a:t>Alle sektorer </a:t>
            </a:r>
            <a:r>
              <a:rPr lang="nb-NO" dirty="0"/>
              <a:t>3333 </a:t>
            </a:r>
            <a:r>
              <a:rPr lang="nb-NO" b="0" dirty="0"/>
              <a:t>– </a:t>
            </a:r>
            <a:r>
              <a:rPr lang="nb-NO" dirty="0"/>
              <a:t>privat </a:t>
            </a:r>
            <a:r>
              <a:rPr lang="nb-NO" b="0" dirty="0"/>
              <a:t>sektor </a:t>
            </a:r>
            <a:r>
              <a:rPr lang="nb-NO" dirty="0"/>
              <a:t>2525 – kommunal sektor 725</a:t>
            </a:r>
            <a:endParaRPr lang="nb-NO" b="0" dirty="0"/>
          </a:p>
          <a:p>
            <a:pPr>
              <a:defRPr/>
            </a:pPr>
            <a:r>
              <a:rPr lang="nb-NO" b="0" dirty="0"/>
              <a:t>2020 – Agder - Alle sektorer 2896 – kommunal sektor 710</a:t>
            </a:r>
            <a:endParaRPr lang="nb-NO" dirty="0"/>
          </a:p>
          <a:p>
            <a:pPr>
              <a:defRPr/>
            </a:pPr>
            <a:r>
              <a:rPr lang="nb-NO" dirty="0"/>
              <a:t>2019 – Agder - Alle sektorer 2949 – kommunal sektor 734</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14</a:t>
            </a:fld>
            <a:endParaRPr lang="nb-NO"/>
          </a:p>
        </p:txBody>
      </p:sp>
    </p:spTree>
    <p:extLst>
      <p:ext uri="{BB962C8B-B14F-4D97-AF65-F5344CB8AC3E}">
        <p14:creationId xmlns:p14="http://schemas.microsoft.com/office/powerpoint/2010/main" val="13981370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Undersøkelser viser at ca. 75% av de som arbeider deltid ønsker dette, men hvorfor er deltidsandelen blant kvinner i Agder så utrolig mye høyere enn i resten av landet? Flere teori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Næringsstruktur kan være en av grunnene. Mange av kommunene med høy deltidsandel har et ensidig næringsliv preget av tradisjonelt mannsdominerte yrker og få kompetansearbeidsplasser. «Tilgjengelig» arbeid kan ofte være yrker preget av høy deltidsandel Salgs- og service, helse- omsorg, renhold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Deltidsandelen er på vei ned i både Agder og Nor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1">
                <a:solidFill>
                  <a:schemeClr val="bg2">
                    <a:lumMod val="10000"/>
                  </a:schemeClr>
                </a:solidFill>
              </a:rPr>
              <a:t>Det er kun Bykle</a:t>
            </a:r>
            <a:r>
              <a:rPr lang="nb-NO" sz="1200">
                <a:solidFill>
                  <a:schemeClr val="bg2">
                    <a:lumMod val="10000"/>
                  </a:schemeClr>
                </a:solidFill>
              </a:rPr>
              <a:t> av kommunene på Agder som har lavere deltidsandel blant kvinner enn landsgjennomsnittet.</a:t>
            </a:r>
          </a:p>
          <a:p>
            <a:endParaRPr lang="nb-NO"/>
          </a:p>
        </p:txBody>
      </p:sp>
      <p:sp>
        <p:nvSpPr>
          <p:cNvPr id="4" name="Plassholder for dato 3"/>
          <p:cNvSpPr>
            <a:spLocks noGrp="1"/>
          </p:cNvSpPr>
          <p:nvPr>
            <p:ph type="dt"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231367-9176-9A4A-8565-58EECFF9F5C0}" type="datetime1">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1.2024</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Plassholder for bunnteks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Plassholder for lysbil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4F1C72-229D-B04D-8A87-850C097B6329}" type="slidenum">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Plassholder for topptekst 6"/>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01182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a:t>Alder</a:t>
            </a:r>
            <a:r>
              <a:rPr lang="nb-NO" baseline="0"/>
              <a:t> 20-66 år</a:t>
            </a:r>
          </a:p>
          <a:p>
            <a:pPr marL="171450" indent="-171450">
              <a:buFont typeface="Arial" panose="020B0604020202020204" pitchFamily="34" charset="0"/>
              <a:buChar char="•"/>
            </a:pPr>
            <a:r>
              <a:rPr lang="nb-NO"/>
              <a:t>Gjennomsnittlig sysselsettingsandel for innvandrere gruppe</a:t>
            </a:r>
            <a:r>
              <a:rPr lang="nb-NO" baseline="0"/>
              <a:t> 2 - 2023: </a:t>
            </a:r>
          </a:p>
          <a:p>
            <a:pPr marL="628650" lvl="1" indent="-171450">
              <a:buFont typeface="Arial" panose="020B0604020202020204" pitchFamily="34" charset="0"/>
              <a:buChar char="•"/>
            </a:pPr>
            <a:r>
              <a:rPr lang="nb-NO" baseline="0"/>
              <a:t>Agder - Begge kjønn: 54,9 %, Kvinner: 50,9 %, Menn: 59,6 %.</a:t>
            </a:r>
          </a:p>
          <a:p>
            <a:pPr marL="628650" lvl="1" indent="-171450">
              <a:buFont typeface="Arial" panose="020B0604020202020204" pitchFamily="34" charset="0"/>
              <a:buChar char="•"/>
            </a:pPr>
            <a:r>
              <a:rPr lang="nb-NO" baseline="0"/>
              <a:t>Norge - Begge kjønn: 61,4 %, Kvinner: 57,5 %, Menn: 66,0 %.</a:t>
            </a:r>
          </a:p>
          <a:p>
            <a:endParaRPr lang="nb-NO"/>
          </a:p>
          <a:p>
            <a:r>
              <a:rPr lang="nb-NO"/>
              <a:t>Kilde: SSB tabell 11607.</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6</a:t>
            </a:fld>
            <a:endParaRPr lang="nb-NO"/>
          </a:p>
        </p:txBody>
      </p:sp>
    </p:spTree>
    <p:extLst>
      <p:ext uri="{BB962C8B-B14F-4D97-AF65-F5344CB8AC3E}">
        <p14:creationId xmlns:p14="http://schemas.microsoft.com/office/powerpoint/2010/main" val="6348196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1" i="0" kern="1200">
                <a:solidFill>
                  <a:schemeClr val="tx1"/>
                </a:solidFill>
                <a:effectLst/>
                <a:latin typeface="+mn-lt"/>
                <a:ea typeface="+mn-ea"/>
                <a:cs typeface="+mn-cs"/>
              </a:rPr>
              <a:t>FHI</a:t>
            </a:r>
            <a:r>
              <a:rPr lang="nb-NO" sz="1200" b="0" i="0" kern="1200">
                <a:solidFill>
                  <a:schemeClr val="tx1"/>
                </a:solidFill>
                <a:effectLst/>
                <a:latin typeface="+mn-lt"/>
                <a:ea typeface="+mn-ea"/>
                <a:cs typeface="+mn-cs"/>
              </a:rPr>
              <a:t> - Barn som bor i husholdninger med inntekt under 60 % av nasjonal medianinntekt over en treårsperiode, beregnet etter EU-skala. Vedvarende lavinntekt er beregnet ved å slå sammen inntektene til husholdningen over en treårsperiode, og dele denne summen på 3. Dette er den gjennomsnittlige husholdningsinntekten i treårsperioden.</a:t>
            </a:r>
            <a:endParaRPr lang="nb-NO"/>
          </a:p>
          <a:p>
            <a:endParaRPr lang="nb-NO"/>
          </a:p>
          <a:p>
            <a:r>
              <a:rPr lang="nb-NO"/>
              <a:t>Kilde: Folkehelseinstituttet,</a:t>
            </a:r>
            <a:r>
              <a:rPr lang="nb-NO" baseline="0"/>
              <a:t> kommunehelsa.</a:t>
            </a:r>
            <a:endParaRPr lang="nb-NO"/>
          </a:p>
        </p:txBody>
      </p:sp>
      <p:sp>
        <p:nvSpPr>
          <p:cNvPr id="4" name="Plassholder for lysbildenummer 3"/>
          <p:cNvSpPr>
            <a:spLocks noGrp="1"/>
          </p:cNvSpPr>
          <p:nvPr>
            <p:ph type="sldNum" sz="quarter" idx="10"/>
          </p:nvPr>
        </p:nvSpPr>
        <p:spPr/>
        <p:txBody>
          <a:bodyPr/>
          <a:lstStyle/>
          <a:p>
            <a:fld id="{B2CC8289-409C-4406-9AD1-41EDEE854A6D}" type="slidenum">
              <a:rPr lang="nb-NO" smtClean="0"/>
              <a:t>17</a:t>
            </a:fld>
            <a:endParaRPr lang="nb-NO"/>
          </a:p>
        </p:txBody>
      </p:sp>
    </p:spTree>
    <p:extLst>
      <p:ext uri="{BB962C8B-B14F-4D97-AF65-F5344CB8AC3E}">
        <p14:creationId xmlns:p14="http://schemas.microsoft.com/office/powerpoint/2010/main" val="15805031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a:t>Statistikk for Agder samlet viser en markant nedgang i tenner med karies for 5-åringer. </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8</a:t>
            </a:fld>
            <a:endParaRPr lang="nb-NO"/>
          </a:p>
        </p:txBody>
      </p:sp>
    </p:spTree>
    <p:extLst>
      <p:ext uri="{BB962C8B-B14F-4D97-AF65-F5344CB8AC3E}">
        <p14:creationId xmlns:p14="http://schemas.microsoft.com/office/powerpoint/2010/main" val="911385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19</a:t>
            </a:fld>
            <a:endParaRPr lang="nb-NO"/>
          </a:p>
        </p:txBody>
      </p:sp>
    </p:spTree>
    <p:extLst>
      <p:ext uri="{BB962C8B-B14F-4D97-AF65-F5344CB8AC3E}">
        <p14:creationId xmlns:p14="http://schemas.microsoft.com/office/powerpoint/2010/main" val="6513557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dirty="0"/>
              <a:t>Det vi har gjort her, er å anvende nasjonal referansebane til å beregne referansebane</a:t>
            </a:r>
            <a:r>
              <a:rPr lang="nb-NO" sz="1200" baseline="0" dirty="0"/>
              <a:t> per sektor og kommune i Agder frem mot 2030.</a:t>
            </a:r>
          </a:p>
          <a:p>
            <a:r>
              <a:rPr lang="nb-NO" sz="1200" baseline="0" dirty="0"/>
              <a:t>- Nasjonal referansebane beregnes med utgangspunkt i vedtatt nasjonal politikk.</a:t>
            </a: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0</a:t>
            </a:fld>
            <a:endParaRPr lang="nb-NO"/>
          </a:p>
        </p:txBody>
      </p:sp>
    </p:spTree>
    <p:extLst>
      <p:ext uri="{BB962C8B-B14F-4D97-AF65-F5344CB8AC3E}">
        <p14:creationId xmlns:p14="http://schemas.microsoft.com/office/powerpoint/2010/main" val="19486413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NB: Luftfart og kvotepliktig industri er ikke inkludert i beregningene.</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a:t>-</a:t>
            </a:r>
            <a:r>
              <a:rPr lang="nb-NO"/>
              <a:t> Statistikk for 2022.</a:t>
            </a:r>
          </a:p>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21</a:t>
            </a:fld>
            <a:endParaRPr lang="nb-NO"/>
          </a:p>
        </p:txBody>
      </p:sp>
    </p:spTree>
    <p:extLst>
      <p:ext uri="{BB962C8B-B14F-4D97-AF65-F5344CB8AC3E}">
        <p14:creationId xmlns:p14="http://schemas.microsoft.com/office/powerpoint/2010/main" val="18765035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 Transport og annen mobil forbrenning inkl.:</a:t>
            </a:r>
            <a:r>
              <a:rPr lang="nb-NO" baseline="0"/>
              <a:t> veitrafikk, sjøfart og annen mobil forbrenning.</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a:t>-</a:t>
            </a:r>
            <a:r>
              <a:rPr lang="nb-NO"/>
              <a:t> Statistikk dagens klimagassutslipp er for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2</a:t>
            </a:fld>
            <a:endParaRPr lang="nb-NO"/>
          </a:p>
        </p:txBody>
      </p:sp>
    </p:spTree>
    <p:extLst>
      <p:ext uri="{BB962C8B-B14F-4D97-AF65-F5344CB8AC3E}">
        <p14:creationId xmlns:p14="http://schemas.microsoft.com/office/powerpoint/2010/main" val="12579236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23</a:t>
            </a:fld>
            <a:endParaRPr lang="nb-NO"/>
          </a:p>
        </p:txBody>
      </p:sp>
    </p:spTree>
    <p:extLst>
      <p:ext uri="{BB962C8B-B14F-4D97-AF65-F5344CB8AC3E}">
        <p14:creationId xmlns:p14="http://schemas.microsoft.com/office/powerpoint/2010/main" val="26573485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Figuren til venstre</a:t>
            </a:r>
            <a:r>
              <a:rPr lang="nb-NO" baseline="0"/>
              <a:t> viser faktisk befolkningsutvikling fram til </a:t>
            </a:r>
            <a:r>
              <a:rPr lang="nb-NO"/>
              <a:t>2024</a:t>
            </a:r>
            <a:r>
              <a:rPr lang="nb-NO" baseline="0"/>
              <a:t>, og deretter </a:t>
            </a:r>
            <a:r>
              <a:rPr lang="nb-NO" baseline="0" err="1"/>
              <a:t>SSB’s</a:t>
            </a:r>
            <a:r>
              <a:rPr lang="nb-NO" baseline="0"/>
              <a:t> middelalternativ fram til 2030. Av denne fremgår det at framskrivingene er ganske lineære og basert på senere års utvikling, og at årlige svingninger selvsagt ikke fanges opp. Jo lenger fram i tid man ser, jo mindre treffsikker er framskrivingen. Disse tar heller ikke hensyn til begivenheter det er grunn til å tro kan ha betydning, som for eksempel større infrastrukturprosjekter eller bedriftsetableringer.</a:t>
            </a:r>
          </a:p>
          <a:p>
            <a:endParaRPr lang="nb-NO" baseline="0"/>
          </a:p>
          <a:p>
            <a:r>
              <a:rPr lang="nb-NO" baseline="0"/>
              <a:t>Figuren til høyre er det lite usikkerhet knyttet til hva angår økningen i den aldrende befolkningen. Dette er jo mennesker vi allerede har hos oss i dag.</a:t>
            </a:r>
            <a:endParaRPr lang="nb-NO">
              <a:ea typeface="Calibri"/>
              <a:cs typeface="Calibri"/>
            </a:endParaRPr>
          </a:p>
        </p:txBody>
      </p:sp>
      <p:sp>
        <p:nvSpPr>
          <p:cNvPr id="4" name="Plassholder for lysbildenummer 3"/>
          <p:cNvSpPr>
            <a:spLocks noGrp="1"/>
          </p:cNvSpPr>
          <p:nvPr>
            <p:ph type="sldNum" sz="quarter" idx="10"/>
          </p:nvPr>
        </p:nvSpPr>
        <p:spPr/>
        <p:txBody>
          <a:bodyPr/>
          <a:lstStyle/>
          <a:p>
            <a:fld id="{0DBD18A2-FE98-4292-85DF-71FBFE3CE1A8}" type="slidenum">
              <a:rPr lang="nb-NO" smtClean="0"/>
              <a:t>3</a:t>
            </a:fld>
            <a:endParaRPr lang="nb-NO"/>
          </a:p>
        </p:txBody>
      </p:sp>
    </p:spTree>
    <p:extLst>
      <p:ext uri="{BB962C8B-B14F-4D97-AF65-F5344CB8AC3E}">
        <p14:creationId xmlns:p14="http://schemas.microsoft.com/office/powerpoint/2010/main" val="30339831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tatus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4</a:t>
            </a:fld>
            <a:endParaRPr lang="nb-NO"/>
          </a:p>
        </p:txBody>
      </p:sp>
    </p:spTree>
    <p:extLst>
      <p:ext uri="{BB962C8B-B14F-4D97-AF65-F5344CB8AC3E}">
        <p14:creationId xmlns:p14="http://schemas.microsoft.com/office/powerpoint/2010/main" val="23614788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25</a:t>
            </a:fld>
            <a:endParaRPr lang="nb-NO"/>
          </a:p>
        </p:txBody>
      </p:sp>
    </p:spTree>
    <p:extLst>
      <p:ext uri="{BB962C8B-B14F-4D97-AF65-F5344CB8AC3E}">
        <p14:creationId xmlns:p14="http://schemas.microsoft.com/office/powerpoint/2010/main" val="2637324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Kartet til høyre</a:t>
            </a:r>
            <a:r>
              <a:rPr lang="nb-NO" baseline="0"/>
              <a:t> er laget på grunnlag av </a:t>
            </a:r>
            <a:r>
              <a:rPr lang="nb-NO" baseline="0" err="1"/>
              <a:t>SSB’s</a:t>
            </a:r>
            <a:r>
              <a:rPr lang="nb-NO" baseline="0"/>
              <a:t> rutenettstatistikk. </a:t>
            </a:r>
          </a:p>
          <a:p>
            <a:endParaRPr lang="nb-NO" baseline="0"/>
          </a:p>
          <a:p>
            <a:pPr marL="0" marR="0" lvl="0" indent="0" algn="l" defTabSz="914400" rtl="0" eaLnBrk="1" fontAlgn="auto" latinLnBrk="0" hangingPunct="1">
              <a:lnSpc>
                <a:spcPct val="100000"/>
              </a:lnSpc>
              <a:spcBef>
                <a:spcPts val="0"/>
              </a:spcBef>
              <a:spcAft>
                <a:spcPts val="0"/>
              </a:spcAft>
              <a:buClrTx/>
              <a:buSzTx/>
              <a:buFontTx/>
              <a:buNone/>
              <a:tabLst/>
              <a:defRPr/>
            </a:pPr>
            <a:r>
              <a:rPr lang="nb-NO"/>
              <a:t>Sentralisering</a:t>
            </a:r>
            <a:r>
              <a:rPr lang="nb-NO" baseline="0"/>
              <a:t> er en global megatrend.</a:t>
            </a:r>
            <a:endParaRPr lang="nb-NO"/>
          </a:p>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4</a:t>
            </a:fld>
            <a:endParaRPr lang="nb-NO"/>
          </a:p>
        </p:txBody>
      </p:sp>
    </p:spTree>
    <p:extLst>
      <p:ext uri="{BB962C8B-B14F-4D97-AF65-F5344CB8AC3E}">
        <p14:creationId xmlns:p14="http://schemas.microsoft.com/office/powerpoint/2010/main" val="19216275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5</a:t>
            </a:fld>
            <a:endParaRPr lang="nb-NO"/>
          </a:p>
        </p:txBody>
      </p:sp>
    </p:spTree>
    <p:extLst>
      <p:ext uri="{BB962C8B-B14F-4D97-AF65-F5344CB8AC3E}">
        <p14:creationId xmlns:p14="http://schemas.microsoft.com/office/powerpoint/2010/main" val="8073538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a:t>Sysselsettingsandelen i Agder gikk ned fra 2022 til 2023. Gapet til landsgjennomsnittet er imidlertid uendret, siden sysselsettingsandelen også gikk ned i Norge.</a:t>
            </a:r>
          </a:p>
          <a:p>
            <a:pPr marL="171450" indent="-171450">
              <a:buFont typeface="Arial" panose="020B0604020202020204" pitchFamily="34" charset="0"/>
              <a:buChar char="•"/>
            </a:pPr>
            <a:r>
              <a:rPr lang="nb-NO"/>
              <a:t>Agder har også en høyere andel av befolkningen som står helt utenfor arbeidsstyrken</a:t>
            </a:r>
            <a:r>
              <a:rPr lang="nb-NO" baseline="0"/>
              <a:t> enn landet for øvrig. </a:t>
            </a:r>
            <a:r>
              <a:rPr lang="nb-NO" baseline="0" err="1"/>
              <a:t>Dvs</a:t>
            </a:r>
            <a:r>
              <a:rPr lang="nb-NO" baseline="0"/>
              <a:t> mennesker som ikke har noen relasjon til arbeidslivet i det hele tatt (verken arbeidsledig eller sysselsatt). </a:t>
            </a:r>
            <a:r>
              <a:rPr lang="nb-NO"/>
              <a:t>Sysselsatte er definert som personer som utførte inntektsgivende arbeid av minst én times varighet i referanseuken m.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Agder har også mye lavere sysselsettingsgrad for innvandrere enn landet for øvrig. </a:t>
            </a:r>
          </a:p>
          <a:p>
            <a:endParaRPr lang="nb-NO"/>
          </a:p>
          <a:p>
            <a:r>
              <a:rPr lang="nb-NO"/>
              <a:t>Sysselsatte er definert som personer som utførte inntektsgivende arbeid av minst én times varighet i referanseuken, samt personer som har et slikt arbeid, men som var midlertidig fraværende pga. sykdom, ferie, lønnet permisjon e.l. Personer som er inne til førstegangs militær- eller siviltjeneste regnes som sysselsatte. Personer på sysselsettingstiltak med lønn fra arbeidsgiver klassifiseres også som sysselsatte.</a:t>
            </a:r>
          </a:p>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7</a:t>
            </a:fld>
            <a:endParaRPr lang="nb-NO"/>
          </a:p>
        </p:txBody>
      </p:sp>
    </p:spTree>
    <p:extLst>
      <p:ext uri="{BB962C8B-B14F-4D97-AF65-F5344CB8AC3E}">
        <p14:creationId xmlns:p14="http://schemas.microsoft.com/office/powerpoint/2010/main" val="40002003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a:solidFill>
                  <a:schemeClr val="tx1"/>
                </a:solidFill>
                <a:effectLst/>
                <a:latin typeface="+mn-lt"/>
                <a:ea typeface="+mn-ea"/>
                <a:cs typeface="+mn-cs"/>
              </a:rPr>
              <a:t>Agder per 2023, 4. </a:t>
            </a:r>
            <a:r>
              <a:rPr lang="nb-NO" sz="1200" b="0" i="0" kern="1200" err="1">
                <a:solidFill>
                  <a:schemeClr val="tx1"/>
                </a:solidFill>
                <a:effectLst/>
                <a:latin typeface="+mn-lt"/>
                <a:ea typeface="+mn-ea"/>
                <a:cs typeface="+mn-cs"/>
              </a:rPr>
              <a:t>kv</a:t>
            </a:r>
            <a:r>
              <a:rPr lang="nb-NO" sz="1200" b="0" i="0" kern="1200">
                <a:solidFill>
                  <a:schemeClr val="tx1"/>
                </a:solidFill>
                <a:effectLst/>
                <a:latin typeface="+mn-lt"/>
                <a:ea typeface="+mn-ea"/>
                <a:cs typeface="+mn-cs"/>
              </a:rPr>
              <a:t>:</a:t>
            </a:r>
            <a:br>
              <a:rPr lang="nb-NO"/>
            </a:br>
            <a:r>
              <a:rPr lang="nb-NO" sz="1200" b="0" i="0" kern="1200">
                <a:solidFill>
                  <a:schemeClr val="tx1"/>
                </a:solidFill>
                <a:effectLst/>
                <a:latin typeface="+mn-lt"/>
                <a:ea typeface="+mn-ea"/>
                <a:cs typeface="+mn-cs"/>
              </a:rPr>
              <a:t>Sysselsatte med bosted: 154 420 (15-74 år)</a:t>
            </a:r>
            <a:br>
              <a:rPr lang="nb-NO"/>
            </a:br>
            <a:r>
              <a:rPr lang="nb-NO" sz="1200" b="0" i="0" kern="1200">
                <a:solidFill>
                  <a:schemeClr val="tx1"/>
                </a:solidFill>
                <a:effectLst/>
                <a:latin typeface="+mn-lt"/>
                <a:ea typeface="+mn-ea"/>
                <a:cs typeface="+mn-cs"/>
              </a:rPr>
              <a:t>Sysselsatte med arbeidssted: 147 240 (15-74 å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a:solidFill>
                  <a:schemeClr val="tx1"/>
                </a:solidFill>
                <a:effectLst/>
                <a:latin typeface="+mn-lt"/>
                <a:ea typeface="+mn-ea"/>
                <a:cs typeface="+mn-cs"/>
              </a:rPr>
              <a:t>Kommunene med størst arbeidsplassoverskudd er Kristiansand (4 341) og Arendal (406).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BA-områdene</a:t>
            </a:r>
            <a:r>
              <a:rPr lang="nb-NO" baseline="0"/>
              <a:t> ble oppdatert i 19/20 av TØ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baseline="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B47F5C-C94D-417D-8719-BBD0F1BB927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54583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dirty="0"/>
              <a:t>Kilde for virksomhetsinfo:</a:t>
            </a:r>
            <a:r>
              <a:rPr lang="nb-NO" baseline="0" dirty="0"/>
              <a:t> Brønnøysundregisteret.</a:t>
            </a:r>
            <a:endParaRPr lang="nb-NO"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0</a:t>
            </a:fld>
            <a:endParaRPr lang="nb-NO"/>
          </a:p>
        </p:txBody>
      </p:sp>
    </p:spTree>
    <p:extLst>
      <p:ext uri="{BB962C8B-B14F-4D97-AF65-F5344CB8AC3E}">
        <p14:creationId xmlns:p14="http://schemas.microsoft.com/office/powerpoint/2010/main" val="25214227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a:t>Grunnskolepoeng regnes ut ved at alle avsluttende karakterer som føres på vitnemålet, legges sammen og deles på antall karakterer slik at en får et gjennomsnitt. Deretter ganges gjennomsnittet med 10. </a:t>
            </a:r>
          </a:p>
          <a:p>
            <a:pPr marL="171450" indent="-171450">
              <a:buFont typeface="Arial" panose="020B0604020202020204" pitchFamily="34" charset="0"/>
              <a:buChar char="•"/>
            </a:pPr>
            <a:endParaRPr lang="nb-NO"/>
          </a:p>
          <a:p>
            <a:pPr marL="171450" indent="-171450">
              <a:buFont typeface="Arial" panose="020B0604020202020204" pitchFamily="34" charset="0"/>
              <a:buChar char="•"/>
            </a:pPr>
            <a:r>
              <a:rPr lang="nb-NO"/>
              <a:t>Standpunktkarakterer og eksamensresultater inngår i elevenes sluttvurdering og skal gi informasjon om elevenes kompetanse ved avslutningen av grunnopplæringen.</a:t>
            </a:r>
          </a:p>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12</a:t>
            </a:fld>
            <a:endParaRPr lang="nb-NO"/>
          </a:p>
        </p:txBody>
      </p:sp>
    </p:spTree>
    <p:extLst>
      <p:ext uri="{BB962C8B-B14F-4D97-AF65-F5344CB8AC3E}">
        <p14:creationId xmlns:p14="http://schemas.microsoft.com/office/powerpoint/2010/main" val="39936670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a:t>Gjennomføring VGS</a:t>
            </a:r>
          </a:p>
          <a:p>
            <a:r>
              <a:rPr lang="nb-NO"/>
              <a:t>Samlet var gjennomføringsgraden for de som startet i vg1 første gang i 2017 på 83,6 % i Agder,</a:t>
            </a:r>
            <a:r>
              <a:rPr lang="nb-NO" baseline="0"/>
              <a:t> som er høyere enn landsgjennomsnittet på 82,2 %.</a:t>
            </a:r>
          </a:p>
          <a:p>
            <a:endParaRPr lang="nb-NO"/>
          </a:p>
          <a:p>
            <a:r>
              <a:rPr lang="nb-NO"/>
              <a:t>Tallene viser gjennomføring i videregående opplæring etter 5/6 år </a:t>
            </a:r>
            <a:r>
              <a:rPr lang="nb-NO" b="0" i="0">
                <a:solidFill>
                  <a:srgbClr val="000000"/>
                </a:solidFill>
                <a:effectLst/>
                <a:highlight>
                  <a:srgbClr val="FBF1F0"/>
                </a:highlight>
                <a:latin typeface="Arial" panose="020B0604020202020204" pitchFamily="34" charset="0"/>
              </a:rPr>
              <a:t>for elever med bostedsadresse i Agder.</a:t>
            </a:r>
            <a:endParaRPr lang="nb-NO"/>
          </a:p>
          <a:p>
            <a:endParaRPr lang="nb-NO" b="0"/>
          </a:p>
          <a:p>
            <a:r>
              <a:rPr lang="nb-NO" b="0"/>
              <a:t>Når det gjelder</a:t>
            </a:r>
            <a:r>
              <a:rPr lang="nb-NO" b="0" baseline="0"/>
              <a:t> søkerpreferanser er det en generell trend at en større andel jenter enn gutter søker studiespesialisering. De senere årene har andelen som søker yrkesopplæring vært økende for begge kjønn.</a:t>
            </a:r>
            <a:endParaRPr lang="nb-NO" b="0"/>
          </a:p>
          <a:p>
            <a:endParaRPr lang="nb-NO" b="0"/>
          </a:p>
        </p:txBody>
      </p:sp>
      <p:sp>
        <p:nvSpPr>
          <p:cNvPr id="4" name="Plassholder for lysbildenummer 3"/>
          <p:cNvSpPr>
            <a:spLocks noGrp="1"/>
          </p:cNvSpPr>
          <p:nvPr>
            <p:ph type="sldNum" sz="quarter" idx="10"/>
          </p:nvPr>
        </p:nvSpPr>
        <p:spPr/>
        <p:txBody>
          <a:bodyPr/>
          <a:lstStyle/>
          <a:p>
            <a:fld id="{0DBD18A2-FE98-4292-85DF-71FBFE3CE1A8}" type="slidenum">
              <a:rPr lang="nb-NO" smtClean="0"/>
              <a:t>13</a:t>
            </a:fld>
            <a:endParaRPr lang="nb-NO"/>
          </a:p>
        </p:txBody>
      </p:sp>
    </p:spTree>
    <p:extLst>
      <p:ext uri="{BB962C8B-B14F-4D97-AF65-F5344CB8AC3E}">
        <p14:creationId xmlns:p14="http://schemas.microsoft.com/office/powerpoint/2010/main" val="21545232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8" name="Bilde 7">
            <a:extLst>
              <a:ext uri="{FF2B5EF4-FFF2-40B4-BE49-F238E27FC236}">
                <a16:creationId xmlns:a16="http://schemas.microsoft.com/office/drawing/2014/main" id="{14FA9D77-7A69-6645-98FE-081527F9027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84805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389612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3186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58175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19311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411482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415563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30893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36456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54537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68734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FA094CD2-4DEF-2C40-81F7-50F084B5172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7998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nb-NO"/>
              <a:t>Klikk for å redigere tittelstil</a:t>
            </a:r>
            <a:endParaRPr lang="en-GB"/>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nb-NO"/>
              <a:t>Rediger tekststiler i malen</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nb-NO"/>
              <a:t>Rediger tekststiler i malen</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81235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21951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28161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68636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9653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Tree>
    <p:extLst>
      <p:ext uri="{BB962C8B-B14F-4D97-AF65-F5344CB8AC3E}">
        <p14:creationId xmlns:p14="http://schemas.microsoft.com/office/powerpoint/2010/main" val="233030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nb-NO"/>
              <a:t>Rediger tekststiler i malen</a:t>
            </a:r>
          </a:p>
        </p:txBody>
      </p:sp>
    </p:spTree>
    <p:extLst>
      <p:ext uri="{BB962C8B-B14F-4D97-AF65-F5344CB8AC3E}">
        <p14:creationId xmlns:p14="http://schemas.microsoft.com/office/powerpoint/2010/main" val="158923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400807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15886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4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12DA26AB-4BA8-C441-8C3E-5DFBBA89671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02289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nb-NO"/>
              <a:t>Klikk for å redigere tittelstil</a:t>
            </a:r>
            <a:endParaRPr lang="en-GB"/>
          </a:p>
        </p:txBody>
      </p:sp>
    </p:spTree>
    <p:extLst>
      <p:ext uri="{BB962C8B-B14F-4D97-AF65-F5344CB8AC3E}">
        <p14:creationId xmlns:p14="http://schemas.microsoft.com/office/powerpoint/2010/main" val="128353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6CAAE06E-C3D0-0C4F-AEA8-38687E910F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400546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78746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pic>
        <p:nvPicPr>
          <p:cNvPr id="15" name="Bilde 14">
            <a:extLst>
              <a:ext uri="{FF2B5EF4-FFF2-40B4-BE49-F238E27FC236}">
                <a16:creationId xmlns:a16="http://schemas.microsoft.com/office/drawing/2014/main" id="{78B6C8F4-23A8-D24D-8CC4-81825D60092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01503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957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3980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54391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22B4266D-CA08-4367-8942-B7C896DB82AC}" type="slidenum">
              <a:rPr lang="nb-NO" smtClean="0"/>
              <a:t>‹#›</a:t>
            </a:fld>
            <a:endParaRPr lang="nb-NO"/>
          </a:p>
        </p:txBody>
      </p:sp>
      <p:pic>
        <p:nvPicPr>
          <p:cNvPr id="11" name="Bilde 10">
            <a:extLst>
              <a:ext uri="{FF2B5EF4-FFF2-40B4-BE49-F238E27FC236}">
                <a16:creationId xmlns:a16="http://schemas.microsoft.com/office/drawing/2014/main" id="{1D0E3B3F-98C2-D142-8A09-F609529E4E23}"/>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2258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3953">
          <p15:clr>
            <a:srgbClr val="F26B43"/>
          </p15:clr>
        </p15:guide>
        <p15:guide id="3" pos="752">
          <p15:clr>
            <a:srgbClr val="F26B43"/>
          </p15:clr>
        </p15:guide>
        <p15:guide id="4" pos="7159">
          <p15:clr>
            <a:srgbClr val="F26B43"/>
          </p15:clr>
        </p15:guide>
        <p15:guide id="5" orient="horz" pos="890">
          <p15:clr>
            <a:srgbClr val="F26B43"/>
          </p15:clr>
        </p15:guide>
        <p15:guide id="6" orient="horz" pos="3816">
          <p15:clr>
            <a:srgbClr val="F26B43"/>
          </p15:clr>
        </p15:guide>
        <p15:guide id="7" orient="horz" pos="3725">
          <p15:clr>
            <a:srgbClr val="F26B43"/>
          </p15:clr>
        </p15:guide>
        <p15:guide id="8" pos="3809">
          <p15:clr>
            <a:srgbClr val="F26B43"/>
          </p15:clr>
        </p15:guide>
        <p15:guide id="9" pos="4099">
          <p15:clr>
            <a:srgbClr val="F26B43"/>
          </p15:clr>
        </p15:guide>
        <p15:guide id="10" orient="horz" pos="181">
          <p15:clr>
            <a:srgbClr val="F26B43"/>
          </p15:clr>
        </p15:guide>
        <p15:guide id="11" orient="horz" pos="69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agdertall.no/naringsliv/naringsstruktur/" TargetMode="External"/><Relationship Id="rId2" Type="http://schemas.openxmlformats.org/officeDocument/2006/relationships/notesSlide" Target="../notesSlides/notesSlide7.xml"/><Relationship Id="rId1" Type="http://schemas.openxmlformats.org/officeDocument/2006/relationships/slideLayout" Target="../slideLayouts/slideLayout15.xml"/><Relationship Id="rId6" Type="http://schemas.openxmlformats.org/officeDocument/2006/relationships/chart" Target="../charts/chart5.xml"/><Relationship Id="rId5" Type="http://schemas.openxmlformats.org/officeDocument/2006/relationships/image" Target="../media/image23.png"/><Relationship Id="rId4" Type="http://schemas.microsoft.com/office/2014/relationships/chartEx" Target="../charts/chartEx1.xml"/></Relationships>
</file>

<file path=ppt/slides/_rels/slide1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hyperlink" Target="https://agdertall.no/utdanning-og-kompetanse/grunnskole/#grunnskolepoeng"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chart" Target="../charts/chart6.xml"/></Relationships>
</file>

<file path=ppt/slides/_rels/slide13.xml.rels><?xml version="1.0" encoding="UTF-8" standalone="yes"?>
<Relationships xmlns="http://schemas.openxmlformats.org/package/2006/relationships"><Relationship Id="rId3" Type="http://schemas.openxmlformats.org/officeDocument/2006/relationships/hyperlink" Target="https://agdertall.no/utdanning-og-kompetanse/videregaende-opplaring/#gjennomforing-vgo" TargetMode="External"/><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chart" Target="../charts/chart7.xml"/></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chart" Target="../charts/chart9.xml"/></Relationships>
</file>

<file path=ppt/slides/_rels/slide15.xml.rels><?xml version="1.0" encoding="UTF-8" standalone="yes"?>
<Relationships xmlns="http://schemas.openxmlformats.org/package/2006/relationships"><Relationship Id="rId3" Type="http://schemas.openxmlformats.org/officeDocument/2006/relationships/hyperlink" Target="https://agdertall.no/arbeidsliv/sysselsetting/#andel-av-sysselsatte-som-jobber-deltid" TargetMode="External"/><Relationship Id="rId2" Type="http://schemas.openxmlformats.org/officeDocument/2006/relationships/notesSlide" Target="../notesSlides/notesSlide11.xml"/><Relationship Id="rId1" Type="http://schemas.openxmlformats.org/officeDocument/2006/relationships/slideLayout" Target="../slideLayouts/slideLayout26.xml"/><Relationship Id="rId5" Type="http://schemas.openxmlformats.org/officeDocument/2006/relationships/image" Target="../media/image33.jpeg"/><Relationship Id="rId4"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12.xml"/><Relationship Id="rId1" Type="http://schemas.openxmlformats.org/officeDocument/2006/relationships/slideLayout" Target="../slideLayouts/slideLayout26.xml"/><Relationship Id="rId4" Type="http://schemas.openxmlformats.org/officeDocument/2006/relationships/chart" Target="../charts/chart10.xml"/></Relationships>
</file>

<file path=ppt/slides/_rels/slide17.xml.rels><?xml version="1.0" encoding="UTF-8" standalone="yes"?>
<Relationships xmlns="http://schemas.openxmlformats.org/package/2006/relationships"><Relationship Id="rId3" Type="http://schemas.openxmlformats.org/officeDocument/2006/relationships/hyperlink" Target="https://agdertall.no/arbeidsliv/inntekt/#vedvarende-lavinntekt" TargetMode="External"/><Relationship Id="rId2" Type="http://schemas.openxmlformats.org/officeDocument/2006/relationships/notesSlide" Target="../notesSlides/notesSlide13.xml"/><Relationship Id="rId1" Type="http://schemas.openxmlformats.org/officeDocument/2006/relationships/slideLayout" Target="../slideLayouts/slideLayout26.xml"/><Relationship Id="rId4" Type="http://schemas.openxmlformats.org/officeDocument/2006/relationships/chart" Target="../charts/chart11.xml"/></Relationships>
</file>

<file path=ppt/slides/_rels/slide18.xml.rels><?xml version="1.0" encoding="UTF-8" standalone="yes"?>
<Relationships xmlns="http://schemas.openxmlformats.org/package/2006/relationships"><Relationship Id="rId3" Type="http://schemas.openxmlformats.org/officeDocument/2006/relationships/hyperlink" Target="https://agdertall.no/helse/sykdommer-og-plager/#tannhelse" TargetMode="External"/><Relationship Id="rId2" Type="http://schemas.openxmlformats.org/officeDocument/2006/relationships/notesSlide" Target="../notesSlides/notesSlide14.xml"/><Relationship Id="rId1" Type="http://schemas.openxmlformats.org/officeDocument/2006/relationships/slideLayout" Target="../slideLayouts/slideLayout26.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12.jpeg"/></Relationships>
</file>

<file path=ppt/slides/_rels/slide20.xml.rels><?xml version="1.0" encoding="UTF-8" standalone="yes"?>
<Relationships xmlns="http://schemas.openxmlformats.org/package/2006/relationships"><Relationship Id="rId3" Type="http://schemas.openxmlformats.org/officeDocument/2006/relationships/hyperlink" Target="https://agdertall.no/klima/utslipp-klimagasser/" TargetMode="External"/><Relationship Id="rId2" Type="http://schemas.openxmlformats.org/officeDocument/2006/relationships/notesSlide" Target="../notesSlides/notesSlide16.xml"/><Relationship Id="rId1" Type="http://schemas.openxmlformats.org/officeDocument/2006/relationships/slideLayout" Target="../slideLayouts/slideLayout15.xml"/><Relationship Id="rId4" Type="http://schemas.openxmlformats.org/officeDocument/2006/relationships/chart" Target="../charts/chart15.xml"/></Relationships>
</file>

<file path=ppt/slides/_rels/slide21.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svg"/><Relationship Id="rId3" Type="http://schemas.openxmlformats.org/officeDocument/2006/relationships/hyperlink" Target="https://agdertall.no/klima/klimagassreduksjoner/" TargetMode="External"/><Relationship Id="rId7" Type="http://schemas.openxmlformats.org/officeDocument/2006/relationships/image" Target="../media/image41.svg"/><Relationship Id="rId12" Type="http://schemas.openxmlformats.org/officeDocument/2006/relationships/image" Target="../media/image46.png"/><Relationship Id="rId2" Type="http://schemas.openxmlformats.org/officeDocument/2006/relationships/notesSlide" Target="../notesSlides/notesSlide17.xml"/><Relationship Id="rId16" Type="http://schemas.openxmlformats.org/officeDocument/2006/relationships/chart" Target="../charts/chart16.xml"/><Relationship Id="rId1" Type="http://schemas.openxmlformats.org/officeDocument/2006/relationships/slideLayout" Target="../slideLayouts/slideLayout15.xml"/><Relationship Id="rId6" Type="http://schemas.openxmlformats.org/officeDocument/2006/relationships/image" Target="../media/image40.png"/><Relationship Id="rId11" Type="http://schemas.openxmlformats.org/officeDocument/2006/relationships/image" Target="../media/image45.svg"/><Relationship Id="rId5" Type="http://schemas.openxmlformats.org/officeDocument/2006/relationships/image" Target="../media/image39.svg"/><Relationship Id="rId15" Type="http://schemas.openxmlformats.org/officeDocument/2006/relationships/image" Target="../media/image49.sv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svg"/><Relationship Id="rId14" Type="http://schemas.openxmlformats.org/officeDocument/2006/relationships/image" Target="../media/image48.png"/></Relationships>
</file>

<file path=ppt/slides/_rels/slide22.xml.rels><?xml version="1.0" encoding="UTF-8" standalone="yes"?>
<Relationships xmlns="http://schemas.openxmlformats.org/package/2006/relationships"><Relationship Id="rId8" Type="http://schemas.openxmlformats.org/officeDocument/2006/relationships/image" Target="../media/image54.emf"/><Relationship Id="rId3" Type="http://schemas.openxmlformats.org/officeDocument/2006/relationships/notesSlide" Target="../notesSlides/notesSlide18.xml"/><Relationship Id="rId7" Type="http://schemas.openxmlformats.org/officeDocument/2006/relationships/image" Target="../media/image53.emf"/><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52.emf"/><Relationship Id="rId5" Type="http://schemas.openxmlformats.org/officeDocument/2006/relationships/image" Target="../media/image51.emf"/><Relationship Id="rId4" Type="http://schemas.openxmlformats.org/officeDocument/2006/relationships/image" Target="../media/image50.png"/></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9.xml"/><Relationship Id="rId1" Type="http://schemas.openxmlformats.org/officeDocument/2006/relationships/slideLayout" Target="../slideLayouts/slideLayout26.xml"/><Relationship Id="rId4" Type="http://schemas.openxmlformats.org/officeDocument/2006/relationships/chart" Target="../charts/chart17.xml"/></Relationships>
</file>

<file path=ppt/slides/_rels/slide24.xml.rels><?xml version="1.0" encoding="UTF-8" standalone="yes"?>
<Relationships xmlns="http://schemas.openxmlformats.org/package/2006/relationships"><Relationship Id="rId3" Type="http://schemas.openxmlformats.org/officeDocument/2006/relationships/hyperlink" Target="https://agdertall.no/areal-og-natur/arealregnskap/" TargetMode="External"/><Relationship Id="rId2" Type="http://schemas.openxmlformats.org/officeDocument/2006/relationships/notesSlide" Target="../notesSlides/notesSlide20.xml"/><Relationship Id="rId1" Type="http://schemas.openxmlformats.org/officeDocument/2006/relationships/slideLayout" Target="../slideLayouts/slideLayout26.xml"/><Relationship Id="rId4" Type="http://schemas.openxmlformats.org/officeDocument/2006/relationships/image" Target="../media/image56.png"/></Relationships>
</file>

<file path=ppt/slides/_rels/slide2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hyperlink" Target="https://agdertall.no/befolkning/befolkningsutvikling/" TargetMode="External"/><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hyperlink" Target="https://agderfk.maps.arcgis.com/apps/instant/media/index.html?appid=df4d1214bd3941d19d7a0b68de9145b1"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agdertall.no/bolig-og-husholdninger/bolig/" TargetMode="External"/><Relationship Id="rId2" Type="http://schemas.openxmlformats.org/officeDocument/2006/relationships/notesSlide" Target="../notesSlides/notesSlide4.xml"/><Relationship Id="rId1" Type="http://schemas.openxmlformats.org/officeDocument/2006/relationships/slideLayout" Target="../slideLayouts/slideLayout26.xml"/><Relationship Id="rId5" Type="http://schemas.openxmlformats.org/officeDocument/2006/relationships/chart" Target="../charts/chart2.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20.jpeg"/></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hyperlink" Target="https://agdertall.no/naringsliv/pendling/" TargetMode="External"/><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r>
              <a:rPr lang="nb-NO"/>
              <a:t>Flekkefjord</a:t>
            </a:r>
          </a:p>
        </p:txBody>
      </p:sp>
      <p:sp>
        <p:nvSpPr>
          <p:cNvPr id="3" name="Undertittel 2"/>
          <p:cNvSpPr>
            <a:spLocks noGrp="1"/>
          </p:cNvSpPr>
          <p:nvPr>
            <p:ph type="subTitle" idx="1"/>
          </p:nvPr>
        </p:nvSpPr>
        <p:spPr/>
        <p:txBody>
          <a:bodyPr/>
          <a:lstStyle/>
          <a:p>
            <a:endParaRPr lang="nb-NO"/>
          </a:p>
          <a:p>
            <a:r>
              <a:rPr lang="nb-NO"/>
              <a:t>Utvalgt statistikk for gjennomgående tema i regionplan Agder</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99712" y="5486400"/>
            <a:ext cx="1130400" cy="1130400"/>
          </a:xfrm>
          <a:prstGeom prst="rect">
            <a:avLst/>
          </a:prstGeom>
        </p:spPr>
      </p:pic>
    </p:spTree>
    <p:extLst>
      <p:ext uri="{BB962C8B-B14F-4D97-AF65-F5344CB8AC3E}">
        <p14:creationId xmlns:p14="http://schemas.microsoft.com/office/powerpoint/2010/main" val="111559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Næringsstruktur – 4. kvartal 2023</a:t>
            </a:r>
          </a:p>
        </p:txBody>
      </p:sp>
      <p:sp>
        <p:nvSpPr>
          <p:cNvPr id="10" name="TekstSylinder 9"/>
          <p:cNvSpPr txBox="1"/>
          <p:nvPr/>
        </p:nvSpPr>
        <p:spPr>
          <a:xfrm>
            <a:off x="205840" y="5114260"/>
            <a:ext cx="11809181" cy="830997"/>
          </a:xfrm>
          <a:prstGeom prst="rect">
            <a:avLst/>
          </a:prstGeom>
          <a:noFill/>
        </p:spPr>
        <p:txBody>
          <a:bodyPr wrap="square" rtlCol="0">
            <a:spAutoFit/>
          </a:bodyPr>
          <a:lstStyle/>
          <a:p>
            <a:r>
              <a:rPr lang="nb-NO" sz="1600" dirty="0"/>
              <a:t>Andersen </a:t>
            </a:r>
            <a:r>
              <a:rPr lang="nb-NO" sz="1600" dirty="0" err="1"/>
              <a:t>mek</a:t>
            </a:r>
            <a:r>
              <a:rPr lang="nb-NO" sz="1600" dirty="0"/>
              <a:t> verksted (maskinindustri), Parat Halvorsen AS (produksjon av dampkjelernæringsmidler) og Agder tunnelservice (Reparasjon av maskiner) er de største industribedriftene. Flekkefjord elektro AS (Elektrisk installasjonsarbeid) er største bygge- og anleggsvirksomhet. </a:t>
            </a:r>
          </a:p>
        </p:txBody>
      </p:sp>
      <p:sp>
        <p:nvSpPr>
          <p:cNvPr id="5" name="TekstSylinder 4">
            <a:extLst>
              <a:ext uri="{FF2B5EF4-FFF2-40B4-BE49-F238E27FC236}">
                <a16:creationId xmlns:a16="http://schemas.microsoft.com/office/drawing/2014/main" id="{9D656F81-52DD-2020-66A0-505318DBCB67}"/>
              </a:ext>
            </a:extLst>
          </p:cNvPr>
          <p:cNvSpPr txBox="1"/>
          <p:nvPr/>
        </p:nvSpPr>
        <p:spPr>
          <a:xfrm>
            <a:off x="9300308" y="6228541"/>
            <a:ext cx="2846216" cy="369332"/>
          </a:xfrm>
          <a:prstGeom prst="rect">
            <a:avLst/>
          </a:prstGeom>
          <a:noFill/>
        </p:spPr>
        <p:txBody>
          <a:bodyPr wrap="square" rtlCol="0">
            <a:spAutoFit/>
          </a:bodyPr>
          <a:lstStyle/>
          <a:p>
            <a:pPr algn="l"/>
            <a:r>
              <a:rPr lang="nb-NO">
                <a:hlinkClick r:id="rId3"/>
              </a:rPr>
              <a:t>Rapport næringsstruktur</a:t>
            </a:r>
            <a:endParaRPr lang="nb-NO"/>
          </a:p>
        </p:txBody>
      </p:sp>
      <mc:AlternateContent xmlns:mc="http://schemas.openxmlformats.org/markup-compatibility/2006" xmlns:cx1="http://schemas.microsoft.com/office/drawing/2015/9/8/chartex">
        <mc:Choice Requires="cx1">
          <p:graphicFrame>
            <p:nvGraphicFramePr>
              <p:cNvPr id="6" name="Diagram 5" descr="Treflisdiagram som viser næringsstrukturen i kommunen.">
                <a:extLst>
                  <a:ext uri="{FF2B5EF4-FFF2-40B4-BE49-F238E27FC236}">
                    <a16:creationId xmlns:a16="http://schemas.microsoft.com/office/drawing/2014/main" id="{54099CEB-1703-8B3F-4851-D73D649045F6}"/>
                  </a:ext>
                </a:extLst>
              </p:cNvPr>
              <p:cNvGraphicFramePr/>
              <p:nvPr>
                <p:extLst>
                  <p:ext uri="{D42A27DB-BD31-4B8C-83A1-F6EECF244321}">
                    <p14:modId xmlns:p14="http://schemas.microsoft.com/office/powerpoint/2010/main" val="2384099143"/>
                  </p:ext>
                </p:extLst>
              </p:nvPr>
            </p:nvGraphicFramePr>
            <p:xfrm>
              <a:off x="205840" y="1202198"/>
              <a:ext cx="5005389" cy="3690938"/>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6" name="Diagram 5" descr="Treflisdiagram som viser næringsstrukturen i kommunen.">
                <a:extLst>
                  <a:ext uri="{FF2B5EF4-FFF2-40B4-BE49-F238E27FC236}">
                    <a16:creationId xmlns:a16="http://schemas.microsoft.com/office/drawing/2014/main" id="{54099CEB-1703-8B3F-4851-D73D649045F6}"/>
                  </a:ext>
                </a:extLst>
              </p:cNvPr>
              <p:cNvPicPr>
                <a:picLocks noGrp="1" noRot="1" noChangeAspect="1" noMove="1" noResize="1" noEditPoints="1" noAdjustHandles="1" noChangeArrowheads="1" noChangeShapeType="1"/>
              </p:cNvPicPr>
              <p:nvPr/>
            </p:nvPicPr>
            <p:blipFill>
              <a:blip r:embed="rId5"/>
              <a:stretch>
                <a:fillRect/>
              </a:stretch>
            </p:blipFill>
            <p:spPr>
              <a:xfrm>
                <a:off x="205840" y="1202198"/>
                <a:ext cx="5005389" cy="3690938"/>
              </a:xfrm>
              <a:prstGeom prst="rect">
                <a:avLst/>
              </a:prstGeom>
            </p:spPr>
          </p:pic>
        </mc:Fallback>
      </mc:AlternateContent>
      <p:graphicFrame>
        <p:nvGraphicFramePr>
          <p:cNvPr id="3" name="Diagram 2" descr="Linjediagram som viser antall sysselsatte i de viktigste industri, samt bygge- og anleggsvirksomhetene (SSB, tabell 13470).">
            <a:extLst>
              <a:ext uri="{FF2B5EF4-FFF2-40B4-BE49-F238E27FC236}">
                <a16:creationId xmlns:a16="http://schemas.microsoft.com/office/drawing/2014/main" id="{24E4A504-A222-3225-2904-7772932E33DE}"/>
              </a:ext>
            </a:extLst>
          </p:cNvPr>
          <p:cNvGraphicFramePr>
            <a:graphicFrameLocks/>
          </p:cNvGraphicFramePr>
          <p:nvPr>
            <p:extLst>
              <p:ext uri="{D42A27DB-BD31-4B8C-83A1-F6EECF244321}">
                <p14:modId xmlns:p14="http://schemas.microsoft.com/office/powerpoint/2010/main" val="3001457601"/>
              </p:ext>
            </p:extLst>
          </p:nvPr>
        </p:nvGraphicFramePr>
        <p:xfrm>
          <a:off x="5587547" y="1264359"/>
          <a:ext cx="6427474" cy="356661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6210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948145"/>
            <a:ext cx="5794209" cy="1021481"/>
          </a:xfrm>
        </p:spPr>
        <p:txBody>
          <a:bodyPr/>
          <a:lstStyle/>
          <a:p>
            <a:r>
              <a:rPr lang="nb-NO"/>
              <a:t>Levekår, likestilling, inkludering og mangfold</a:t>
            </a:r>
          </a:p>
        </p:txBody>
      </p:sp>
      <p:sp>
        <p:nvSpPr>
          <p:cNvPr id="3" name="Undertittel 2"/>
          <p:cNvSpPr>
            <a:spLocks noGrp="1"/>
          </p:cNvSpPr>
          <p:nvPr>
            <p:ph type="subTitle" idx="1"/>
          </p:nvPr>
        </p:nvSpPr>
        <p:spPr>
          <a:xfrm>
            <a:off x="1193800" y="3135253"/>
            <a:ext cx="10171112" cy="1541688"/>
          </a:xfrm>
        </p:spPr>
        <p:txBody>
          <a:bodyPr/>
          <a:lstStyle/>
          <a:p>
            <a:r>
              <a:rPr lang="nb-NO" i="1"/>
              <a:t>Regionplan Agder 2030 tegner et fremtidsbilde der Agder er en attraktiv region å bo i, jobbe i og besøke. Byene, tettstedene og bygdesentrene er trygge og attraktive steder med identitet og innovasjonskraft. Stedene er kompakte, tilrettelagt for alle, uansett funksjonsevne, og ivaretar behovene som både minoritetsgrupper og en stadig økende andel eldre har.</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981" y="5496713"/>
            <a:ext cx="1130643" cy="1130643"/>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8721" y="5501350"/>
            <a:ext cx="1130643" cy="1130643"/>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7461" y="5496713"/>
            <a:ext cx="1130643" cy="1130643"/>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01748" y="5496712"/>
            <a:ext cx="1130643" cy="1130643"/>
          </a:xfrm>
          <a:prstGeom prst="rect">
            <a:avLst/>
          </a:prstGeom>
        </p:spPr>
      </p:pic>
      <p:pic>
        <p:nvPicPr>
          <p:cNvPr id="8" name="Bilde 7">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4941" y="5496711"/>
            <a:ext cx="1130643" cy="1130643"/>
          </a:xfrm>
          <a:prstGeom prst="rect">
            <a:avLst/>
          </a:prstGeom>
        </p:spPr>
      </p:pic>
      <p:pic>
        <p:nvPicPr>
          <p:cNvPr id="9" name="Bilde 8">
            <a:extLs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34775" y="5496710"/>
            <a:ext cx="1130643" cy="1130643"/>
          </a:xfrm>
          <a:prstGeom prst="rect">
            <a:avLst/>
          </a:prstGeom>
        </p:spPr>
      </p:pic>
      <p:pic>
        <p:nvPicPr>
          <p:cNvPr id="10" name="Bilde 9">
            <a:extLs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2421" y="5496710"/>
            <a:ext cx="1130643" cy="1130643"/>
          </a:xfrm>
          <a:prstGeom prst="rect">
            <a:avLst/>
          </a:prstGeom>
        </p:spPr>
      </p:pic>
      <p:pic>
        <p:nvPicPr>
          <p:cNvPr id="11" name="Bilde 10">
            <a:extLs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90067" y="5496953"/>
            <a:ext cx="1130400" cy="1130400"/>
          </a:xfrm>
          <a:prstGeom prst="rect">
            <a:avLst/>
          </a:prstGeom>
        </p:spPr>
      </p:pic>
    </p:spTree>
    <p:extLst>
      <p:ext uri="{BB962C8B-B14F-4D97-AF65-F5344CB8AC3E}">
        <p14:creationId xmlns:p14="http://schemas.microsoft.com/office/powerpoint/2010/main" val="150220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Grunnskolepoeng</a:t>
            </a:r>
          </a:p>
        </p:txBody>
      </p:sp>
      <p:sp>
        <p:nvSpPr>
          <p:cNvPr id="3" name="Plassholder for innhold 2"/>
          <p:cNvSpPr>
            <a:spLocks noGrp="1"/>
          </p:cNvSpPr>
          <p:nvPr>
            <p:ph idx="1"/>
          </p:nvPr>
        </p:nvSpPr>
        <p:spPr>
          <a:xfrm>
            <a:off x="516862" y="1300162"/>
            <a:ext cx="4316396" cy="3615967"/>
          </a:xfrm>
        </p:spPr>
        <p:txBody>
          <a:bodyPr/>
          <a:lstStyle/>
          <a:p>
            <a:r>
              <a:rPr lang="nb-NO" sz="2000"/>
              <a:t>Flekkefjord ligger over fylkessnittet for grunnskolepoeng i 2020-2022 og 2024, men under snittet i 2023.</a:t>
            </a:r>
          </a:p>
          <a:p>
            <a:endParaRPr lang="nb-NO" sz="1000" dirty="0"/>
          </a:p>
          <a:p>
            <a:r>
              <a:rPr lang="nb-NO" sz="2000" dirty="0"/>
              <a:t>Grunnskolepoengene for 2020, 2021 og 2022 er basert på standpunkt, siden eksamener ble avlyst under pandemien. Dette gjør at grunnskolepoengene for disse årene ikke uten videre kan sammenliknes med andre år.</a:t>
            </a:r>
          </a:p>
        </p:txBody>
      </p:sp>
      <p:sp>
        <p:nvSpPr>
          <p:cNvPr id="6" name="TekstSylinder 5">
            <a:extLst>
              <a:ext uri="{FF2B5EF4-FFF2-40B4-BE49-F238E27FC236}">
                <a16:creationId xmlns:a16="http://schemas.microsoft.com/office/drawing/2014/main" id="{119660C1-6720-75C5-313A-BBB93FB78FE2}"/>
              </a:ext>
            </a:extLst>
          </p:cNvPr>
          <p:cNvSpPr txBox="1"/>
          <p:nvPr/>
        </p:nvSpPr>
        <p:spPr>
          <a:xfrm>
            <a:off x="693477" y="5164298"/>
            <a:ext cx="3016078" cy="369332"/>
          </a:xfrm>
          <a:prstGeom prst="rect">
            <a:avLst/>
          </a:prstGeom>
          <a:noFill/>
        </p:spPr>
        <p:txBody>
          <a:bodyPr wrap="square" rtlCol="0">
            <a:spAutoFit/>
          </a:bodyPr>
          <a:lstStyle/>
          <a:p>
            <a:pPr algn="l"/>
            <a:r>
              <a:rPr lang="nb-NO">
                <a:hlinkClick r:id="rId3"/>
              </a:rPr>
              <a:t>Rapport grunnskolepoeng</a:t>
            </a:r>
            <a:endParaRPr lang="nb-NO"/>
          </a:p>
        </p:txBody>
      </p:sp>
      <p:graphicFrame>
        <p:nvGraphicFramePr>
          <p:cNvPr id="5" name="Diagram 4" descr="Diagram som viser grunnskolepoeng for begge kjønn, siste 5 år. Sammenligner kommune og Agder.">
            <a:extLst>
              <a:ext uri="{FF2B5EF4-FFF2-40B4-BE49-F238E27FC236}">
                <a16:creationId xmlns:a16="http://schemas.microsoft.com/office/drawing/2014/main" id="{78039546-200C-51F9-A3B8-CF9627E87368}"/>
              </a:ext>
            </a:extLst>
          </p:cNvPr>
          <p:cNvGraphicFramePr>
            <a:graphicFrameLocks/>
          </p:cNvGraphicFramePr>
          <p:nvPr>
            <p:extLst>
              <p:ext uri="{D42A27DB-BD31-4B8C-83A1-F6EECF244321}">
                <p14:modId xmlns:p14="http://schemas.microsoft.com/office/powerpoint/2010/main" val="2232823031"/>
              </p:ext>
            </p:extLst>
          </p:nvPr>
        </p:nvGraphicFramePr>
        <p:xfrm>
          <a:off x="5541718" y="1300162"/>
          <a:ext cx="6219826" cy="415194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3548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250429"/>
            <a:ext cx="10153651" cy="685606"/>
          </a:xfrm>
        </p:spPr>
        <p:txBody>
          <a:bodyPr/>
          <a:lstStyle/>
          <a:p>
            <a:r>
              <a:rPr lang="nb-NO"/>
              <a:t>Gjennomføring videregående opplæring</a:t>
            </a:r>
          </a:p>
        </p:txBody>
      </p:sp>
      <p:sp>
        <p:nvSpPr>
          <p:cNvPr id="3" name="TekstSylinder 2">
            <a:extLst>
              <a:ext uri="{FF2B5EF4-FFF2-40B4-BE49-F238E27FC236}">
                <a16:creationId xmlns:a16="http://schemas.microsoft.com/office/drawing/2014/main" id="{0E208661-40B4-4483-9A05-FE473BED7235}"/>
              </a:ext>
            </a:extLst>
          </p:cNvPr>
          <p:cNvSpPr txBox="1"/>
          <p:nvPr/>
        </p:nvSpPr>
        <p:spPr>
          <a:xfrm>
            <a:off x="402912" y="1174007"/>
            <a:ext cx="4731795" cy="2031325"/>
          </a:xfrm>
          <a:prstGeom prst="rect">
            <a:avLst/>
          </a:prstGeom>
          <a:noFill/>
        </p:spPr>
        <p:txBody>
          <a:bodyPr wrap="square" rtlCol="0">
            <a:spAutoFit/>
          </a:bodyPr>
          <a:lstStyle/>
          <a:p>
            <a:pPr marL="285750" indent="-285750">
              <a:buFont typeface="Arial" panose="020B0604020202020204" pitchFamily="34" charset="0"/>
              <a:buChar char="•"/>
            </a:pPr>
            <a:r>
              <a:rPr lang="nb-NO"/>
              <a:t>For 2017-kullet var gjennomførings-graden i kommunen 85,0 %. Dette er høyere enn snittet for Agder. </a:t>
            </a:r>
          </a:p>
          <a:p>
            <a:pPr marL="285750" indent="-285750">
              <a:buFont typeface="Arial" panose="020B0604020202020204" pitchFamily="34" charset="0"/>
              <a:buChar char="•"/>
            </a:pPr>
            <a:endParaRPr lang="nb-NO"/>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Tabellen under viser fordeling av 1. ønske-søkere til </a:t>
            </a:r>
            <a:r>
              <a:rPr lang="nb-NO" err="1"/>
              <a:t>vgo</a:t>
            </a:r>
            <a:r>
              <a:rPr lang="nb-NO"/>
              <a:t> for 2023.</a:t>
            </a:r>
          </a:p>
        </p:txBody>
      </p:sp>
      <p:graphicFrame>
        <p:nvGraphicFramePr>
          <p:cNvPr id="4" name="Tabell 3">
            <a:extLst>
              <a:ext uri="{FF2B5EF4-FFF2-40B4-BE49-F238E27FC236}">
                <a16:creationId xmlns:a16="http://schemas.microsoft.com/office/drawing/2014/main" id="{08A17351-A099-5DB4-EBE0-848D2D26F06F}"/>
              </a:ext>
            </a:extLst>
          </p:cNvPr>
          <p:cNvGraphicFramePr>
            <a:graphicFrameLocks noGrp="1"/>
          </p:cNvGraphicFramePr>
          <p:nvPr>
            <p:extLst>
              <p:ext uri="{D42A27DB-BD31-4B8C-83A1-F6EECF244321}">
                <p14:modId xmlns:p14="http://schemas.microsoft.com/office/powerpoint/2010/main" val="1782413411"/>
              </p:ext>
            </p:extLst>
          </p:nvPr>
        </p:nvGraphicFramePr>
        <p:xfrm>
          <a:off x="695910" y="3429000"/>
          <a:ext cx="4038600" cy="1546860"/>
        </p:xfrm>
        <a:graphic>
          <a:graphicData uri="http://schemas.openxmlformats.org/drawingml/2006/table">
            <a:tbl>
              <a:tblPr firstRow="1"/>
              <a:tblGrid>
                <a:gridCol w="1054100">
                  <a:extLst>
                    <a:ext uri="{9D8B030D-6E8A-4147-A177-3AD203B41FA5}">
                      <a16:colId xmlns:a16="http://schemas.microsoft.com/office/drawing/2014/main" val="3937340272"/>
                    </a:ext>
                  </a:extLst>
                </a:gridCol>
                <a:gridCol w="1054100">
                  <a:extLst>
                    <a:ext uri="{9D8B030D-6E8A-4147-A177-3AD203B41FA5}">
                      <a16:colId xmlns:a16="http://schemas.microsoft.com/office/drawing/2014/main" val="1570212428"/>
                    </a:ext>
                  </a:extLst>
                </a:gridCol>
                <a:gridCol w="965200">
                  <a:extLst>
                    <a:ext uri="{9D8B030D-6E8A-4147-A177-3AD203B41FA5}">
                      <a16:colId xmlns:a16="http://schemas.microsoft.com/office/drawing/2014/main" val="2873170889"/>
                    </a:ext>
                  </a:extLst>
                </a:gridCol>
                <a:gridCol w="965200">
                  <a:extLst>
                    <a:ext uri="{9D8B030D-6E8A-4147-A177-3AD203B41FA5}">
                      <a16:colId xmlns:a16="http://schemas.microsoft.com/office/drawing/2014/main" val="2736408794"/>
                    </a:ext>
                  </a:extLst>
                </a:gridCol>
              </a:tblGrid>
              <a:tr h="220980">
                <a:tc>
                  <a:txBody>
                    <a:bodyPr/>
                    <a:lstStyle/>
                    <a:p>
                      <a:pPr algn="ctr" fontAlgn="b"/>
                      <a:r>
                        <a:rPr lang="nb-NO" sz="1300" b="1" i="0" u="none" strike="noStrike">
                          <a:solidFill>
                            <a:srgbClr val="FFFFFF"/>
                          </a:solidFill>
                          <a:effectLst/>
                          <a:latin typeface="Calibri" panose="020F0502020204030204" pitchFamily="34" charset="0"/>
                        </a:rPr>
                        <a:t>Utval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Yrkesfa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Studieforb.</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extLst>
                  <a:ext uri="{0D108BD9-81ED-4DB2-BD59-A6C34878D82A}">
                    <a16:rowId xmlns:a16="http://schemas.microsoft.com/office/drawing/2014/main" val="1872303216"/>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Flekkefjord</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75,8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24,2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4282413384"/>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64,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35,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27773181"/>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83,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16,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51825000"/>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Agder</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56,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43,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1974926173"/>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0,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9,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97892708"/>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62,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37,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18112808"/>
                  </a:ext>
                </a:extLst>
              </a:tr>
            </a:tbl>
          </a:graphicData>
        </a:graphic>
      </p:graphicFrame>
      <p:sp>
        <p:nvSpPr>
          <p:cNvPr id="5" name="TekstSylinder 4">
            <a:extLst>
              <a:ext uri="{FF2B5EF4-FFF2-40B4-BE49-F238E27FC236}">
                <a16:creationId xmlns:a16="http://schemas.microsoft.com/office/drawing/2014/main" id="{C658FB2D-A70D-2E6D-AD3C-7302E630964D}"/>
              </a:ext>
            </a:extLst>
          </p:cNvPr>
          <p:cNvSpPr txBox="1"/>
          <p:nvPr/>
        </p:nvSpPr>
        <p:spPr>
          <a:xfrm>
            <a:off x="695910" y="5367807"/>
            <a:ext cx="2565550" cy="369332"/>
          </a:xfrm>
          <a:prstGeom prst="rect">
            <a:avLst/>
          </a:prstGeom>
          <a:noFill/>
        </p:spPr>
        <p:txBody>
          <a:bodyPr wrap="square" rtlCol="0">
            <a:spAutoFit/>
          </a:bodyPr>
          <a:lstStyle/>
          <a:p>
            <a:pPr algn="l"/>
            <a:r>
              <a:rPr lang="nb-NO">
                <a:hlinkClick r:id="rId3"/>
              </a:rPr>
              <a:t>Rapport gjennomføring</a:t>
            </a:r>
            <a:endParaRPr lang="nb-NO"/>
          </a:p>
        </p:txBody>
      </p:sp>
      <p:graphicFrame>
        <p:nvGraphicFramePr>
          <p:cNvPr id="7" name="Diagram 6" descr="Stolpediagram som viser gjennomføring videregående opplæring. Tidsserie. Sammenligner Agder og kommune, begge kjønn og alle utdanningsprogram.">
            <a:extLst>
              <a:ext uri="{FF2B5EF4-FFF2-40B4-BE49-F238E27FC236}">
                <a16:creationId xmlns:a16="http://schemas.microsoft.com/office/drawing/2014/main" id="{20743EAD-2704-49A5-4317-249C8750BC66}"/>
              </a:ext>
            </a:extLst>
          </p:cNvPr>
          <p:cNvGraphicFramePr>
            <a:graphicFrameLocks/>
          </p:cNvGraphicFramePr>
          <p:nvPr>
            <p:extLst>
              <p:ext uri="{D42A27DB-BD31-4B8C-83A1-F6EECF244321}">
                <p14:modId xmlns:p14="http://schemas.microsoft.com/office/powerpoint/2010/main" val="670309475"/>
              </p:ext>
            </p:extLst>
          </p:nvPr>
        </p:nvGraphicFramePr>
        <p:xfrm>
          <a:off x="5134707" y="1312704"/>
          <a:ext cx="6889506" cy="366315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23357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120610"/>
            <a:ext cx="10153651" cy="685606"/>
          </a:xfrm>
        </p:spPr>
        <p:txBody>
          <a:bodyPr/>
          <a:lstStyle/>
          <a:p>
            <a:r>
              <a:rPr lang="nb-NO"/>
              <a:t>Lærekontrakter kommunal og privat sektor</a:t>
            </a:r>
          </a:p>
        </p:txBody>
      </p:sp>
      <p:sp>
        <p:nvSpPr>
          <p:cNvPr id="12" name="TekstSylinder 11"/>
          <p:cNvSpPr txBox="1"/>
          <p:nvPr/>
        </p:nvSpPr>
        <p:spPr>
          <a:xfrm>
            <a:off x="395424" y="1121307"/>
            <a:ext cx="4346591" cy="3693319"/>
          </a:xfrm>
          <a:prstGeom prst="rect">
            <a:avLst/>
          </a:prstGeom>
          <a:noFill/>
        </p:spPr>
        <p:txBody>
          <a:bodyPr wrap="square" rtlCol="0">
            <a:spAutoFit/>
          </a:bodyPr>
          <a:lstStyle/>
          <a:p>
            <a:pPr marL="285750" indent="-285750">
              <a:buFont typeface="Arial" panose="020B0604020202020204" pitchFamily="34" charset="0"/>
              <a:buChar char="•"/>
            </a:pPr>
            <a:r>
              <a:rPr lang="nb-NO" dirty="0"/>
              <a:t>Det er åtte kommuner i Agder som har nådd målsetningen om tre lærekontrakter i kommunal sektor per 1000 innbyggere i 2024.</a:t>
            </a:r>
          </a:p>
          <a:p>
            <a:pPr marL="285750" indent="-285750" algn="l">
              <a:buFont typeface="Arial" panose="020B0604020202020204" pitchFamily="34" charset="0"/>
              <a:buChar char="•"/>
            </a:pPr>
            <a:endParaRPr lang="nb-NO" dirty="0"/>
          </a:p>
          <a:p>
            <a:pPr marL="285750" indent="-285750">
              <a:buFont typeface="Arial" panose="020B0604020202020204" pitchFamily="34" charset="0"/>
              <a:buChar char="•"/>
            </a:pPr>
            <a:r>
              <a:rPr lang="nb-NO" dirty="0"/>
              <a:t>Flekkefjord har 24 lærekontrakter i kommunal sektor, og mangler 4 for å nå målsetningen.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Flekkefjord har 12 lærekontrakter per 1000 innbyggere i privat sektor (2023).</a:t>
            </a:r>
          </a:p>
          <a:p>
            <a:pPr marL="285750" indent="-285750" algn="l">
              <a:buFont typeface="Arial" panose="020B0604020202020204" pitchFamily="34" charset="0"/>
              <a:buChar char="•"/>
            </a:pPr>
            <a:endParaRPr lang="nb-NO" dirty="0"/>
          </a:p>
        </p:txBody>
      </p:sp>
      <p:graphicFrame>
        <p:nvGraphicFramePr>
          <p:cNvPr id="3" name="Diagram 2" descr="Stolpediagram som viser antall lærekotrakter per 1000 innbyggere, privat sektor. Sammenligner alle kommuner i Agder.">
            <a:extLst>
              <a:ext uri="{FF2B5EF4-FFF2-40B4-BE49-F238E27FC236}">
                <a16:creationId xmlns:a16="http://schemas.microsoft.com/office/drawing/2014/main" id="{9542FC25-152B-8DBB-047A-F68C8C823D8F}"/>
              </a:ext>
            </a:extLst>
          </p:cNvPr>
          <p:cNvGraphicFramePr>
            <a:graphicFrameLocks/>
          </p:cNvGraphicFramePr>
          <p:nvPr>
            <p:extLst>
              <p:ext uri="{D42A27DB-BD31-4B8C-83A1-F6EECF244321}">
                <p14:modId xmlns:p14="http://schemas.microsoft.com/office/powerpoint/2010/main" val="2608569468"/>
              </p:ext>
            </p:extLst>
          </p:nvPr>
        </p:nvGraphicFramePr>
        <p:xfrm>
          <a:off x="5063068" y="3618417"/>
          <a:ext cx="6932990" cy="23076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Diagram 3" descr="Stolpediagram som viser antall lærekontrakter per 1000 innbyggere, kommunal sektor. Sammenligner alle kommuner i Agder.">
            <a:extLst>
              <a:ext uri="{FF2B5EF4-FFF2-40B4-BE49-F238E27FC236}">
                <a16:creationId xmlns:a16="http://schemas.microsoft.com/office/drawing/2014/main" id="{8E44FFB8-1F8F-A867-D0FF-B96BB286E5D3}"/>
              </a:ext>
            </a:extLst>
          </p:cNvPr>
          <p:cNvGraphicFramePr>
            <a:graphicFrameLocks/>
          </p:cNvGraphicFramePr>
          <p:nvPr>
            <p:extLst>
              <p:ext uri="{D42A27DB-BD31-4B8C-83A1-F6EECF244321}">
                <p14:modId xmlns:p14="http://schemas.microsoft.com/office/powerpoint/2010/main" val="302766581"/>
              </p:ext>
            </p:extLst>
          </p:nvPr>
        </p:nvGraphicFramePr>
        <p:xfrm>
          <a:off x="5063068" y="1023937"/>
          <a:ext cx="6932990" cy="240506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55702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851357" y="295469"/>
            <a:ext cx="6174393" cy="685606"/>
          </a:xfrm>
        </p:spPr>
        <p:txBody>
          <a:bodyPr/>
          <a:lstStyle/>
          <a:p>
            <a:r>
              <a:rPr lang="nb-NO" sz="4000"/>
              <a:t>Deltid kvinner 20-66 år</a:t>
            </a:r>
          </a:p>
        </p:txBody>
      </p:sp>
      <p:sp>
        <p:nvSpPr>
          <p:cNvPr id="5" name="TekstSylinder 4">
            <a:extLst>
              <a:ext uri="{FF2B5EF4-FFF2-40B4-BE49-F238E27FC236}">
                <a16:creationId xmlns:a16="http://schemas.microsoft.com/office/drawing/2014/main" id="{1259BCDE-C1A8-3652-C344-859271CDD0C8}"/>
              </a:ext>
            </a:extLst>
          </p:cNvPr>
          <p:cNvSpPr txBox="1"/>
          <p:nvPr/>
        </p:nvSpPr>
        <p:spPr>
          <a:xfrm>
            <a:off x="564504" y="5581374"/>
            <a:ext cx="2650672"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hlinkClick r:id="rId3"/>
              </a:rPr>
              <a:t>Rapport deltid kvinner</a:t>
            </a: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7" name="Tabell 6">
            <a:extLst>
              <a:ext uri="{FF2B5EF4-FFF2-40B4-BE49-F238E27FC236}">
                <a16:creationId xmlns:a16="http://schemas.microsoft.com/office/drawing/2014/main" id="{D6D52708-4DCD-2CC3-B3DD-80633FD8B8D1}"/>
              </a:ext>
            </a:extLst>
          </p:cNvPr>
          <p:cNvGraphicFramePr>
            <a:graphicFrameLocks noGrp="1"/>
          </p:cNvGraphicFramePr>
          <p:nvPr>
            <p:extLst>
              <p:ext uri="{D42A27DB-BD31-4B8C-83A1-F6EECF244321}">
                <p14:modId xmlns:p14="http://schemas.microsoft.com/office/powerpoint/2010/main" val="2844176320"/>
              </p:ext>
            </p:extLst>
          </p:nvPr>
        </p:nvGraphicFramePr>
        <p:xfrm>
          <a:off x="647830" y="4111069"/>
          <a:ext cx="4562345" cy="1432560"/>
        </p:xfrm>
        <a:graphic>
          <a:graphicData uri="http://schemas.openxmlformats.org/drawingml/2006/table">
            <a:tbl>
              <a:tblPr firstRow="1" bandRow="1">
                <a:tableStyleId>{7DF18680-E054-41AD-8BC1-D1AEF772440D}</a:tableStyleId>
              </a:tblPr>
              <a:tblGrid>
                <a:gridCol w="1507778">
                  <a:extLst>
                    <a:ext uri="{9D8B030D-6E8A-4147-A177-3AD203B41FA5}">
                      <a16:colId xmlns:a16="http://schemas.microsoft.com/office/drawing/2014/main" val="458187021"/>
                    </a:ext>
                  </a:extLst>
                </a:gridCol>
                <a:gridCol w="1018189">
                  <a:extLst>
                    <a:ext uri="{9D8B030D-6E8A-4147-A177-3AD203B41FA5}">
                      <a16:colId xmlns:a16="http://schemas.microsoft.com/office/drawing/2014/main" val="221583423"/>
                    </a:ext>
                  </a:extLst>
                </a:gridCol>
                <a:gridCol w="1018189">
                  <a:extLst>
                    <a:ext uri="{9D8B030D-6E8A-4147-A177-3AD203B41FA5}">
                      <a16:colId xmlns:a16="http://schemas.microsoft.com/office/drawing/2014/main" val="1883679846"/>
                    </a:ext>
                  </a:extLst>
                </a:gridCol>
                <a:gridCol w="1018189">
                  <a:extLst>
                    <a:ext uri="{9D8B030D-6E8A-4147-A177-3AD203B41FA5}">
                      <a16:colId xmlns:a16="http://schemas.microsoft.com/office/drawing/2014/main" val="2441713524"/>
                    </a:ext>
                  </a:extLst>
                </a:gridCol>
              </a:tblGrid>
              <a:tr h="467507">
                <a:tc>
                  <a:txBody>
                    <a:bodyPr/>
                    <a:lstStyle/>
                    <a:p>
                      <a:pPr algn="ctr"/>
                      <a:r>
                        <a:rPr lang="nb-NO" sz="1400"/>
                        <a:t>20-66 år</a:t>
                      </a:r>
                      <a:endParaRPr lang="nb-NO" sz="1400" b="1"/>
                    </a:p>
                  </a:txBody>
                  <a:tcPr anchor="ctr"/>
                </a:tc>
                <a:tc>
                  <a:txBody>
                    <a:bodyPr/>
                    <a:lstStyle/>
                    <a:p>
                      <a:pPr algn="ctr"/>
                      <a:r>
                        <a:rPr lang="nb-NO" sz="1400"/>
                        <a:t>Begge kjønn</a:t>
                      </a:r>
                      <a:endParaRPr lang="nb-NO" sz="1400" b="1"/>
                    </a:p>
                  </a:txBody>
                  <a:tcPr anchor="ctr"/>
                </a:tc>
                <a:tc>
                  <a:txBody>
                    <a:bodyPr/>
                    <a:lstStyle/>
                    <a:p>
                      <a:pPr algn="ctr"/>
                      <a:r>
                        <a:rPr lang="nb-NO" sz="1400"/>
                        <a:t>Menn</a:t>
                      </a:r>
                      <a:endParaRPr lang="nb-NO" sz="1400" b="1"/>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a:t>Kvinner</a:t>
                      </a:r>
                      <a:endParaRPr lang="nb-NO" sz="1400" b="1"/>
                    </a:p>
                  </a:txBody>
                  <a:tcPr anchor="ctr"/>
                </a:tc>
                <a:extLst>
                  <a:ext uri="{0D108BD9-81ED-4DB2-BD59-A6C34878D82A}">
                    <a16:rowId xmlns:a16="http://schemas.microsoft.com/office/drawing/2014/main" val="957641228"/>
                  </a:ext>
                </a:extLst>
              </a:tr>
              <a:tr h="275999">
                <a:tc>
                  <a:txBody>
                    <a:bodyPr/>
                    <a:lstStyle/>
                    <a:p>
                      <a:pPr algn="ctr"/>
                      <a:r>
                        <a:rPr lang="nb-NO" sz="1400" b="0"/>
                        <a:t>Flekkefjord</a:t>
                      </a:r>
                    </a:p>
                  </a:txBody>
                  <a:tcPr anchor="ctr"/>
                </a:tc>
                <a:tc>
                  <a:txBody>
                    <a:bodyPr/>
                    <a:lstStyle/>
                    <a:p>
                      <a:pPr algn="ctr"/>
                      <a:r>
                        <a:rPr lang="nb-NO" sz="1400" b="0"/>
                        <a:t>32,5</a:t>
                      </a:r>
                    </a:p>
                  </a:txBody>
                  <a:tcPr anchor="ctr"/>
                </a:tc>
                <a:tc>
                  <a:txBody>
                    <a:bodyPr/>
                    <a:lstStyle/>
                    <a:p>
                      <a:pPr algn="ctr"/>
                      <a:r>
                        <a:rPr lang="nb-NO" sz="1400" b="0"/>
                        <a:t>16,7</a:t>
                      </a:r>
                    </a:p>
                  </a:txBody>
                  <a:tcPr anchor="ctr"/>
                </a:tc>
                <a:tc>
                  <a:txBody>
                    <a:bodyPr/>
                    <a:lstStyle/>
                    <a:p>
                      <a:pPr algn="ctr"/>
                      <a:r>
                        <a:rPr lang="nb-NO" sz="1400" b="0"/>
                        <a:t>50,7</a:t>
                      </a:r>
                    </a:p>
                  </a:txBody>
                  <a:tcPr anchor="ctr"/>
                </a:tc>
                <a:extLst>
                  <a:ext uri="{0D108BD9-81ED-4DB2-BD59-A6C34878D82A}">
                    <a16:rowId xmlns:a16="http://schemas.microsoft.com/office/drawing/2014/main" val="4019652575"/>
                  </a:ext>
                </a:extLst>
              </a:tr>
              <a:tr h="275999">
                <a:tc>
                  <a:txBody>
                    <a:bodyPr/>
                    <a:lstStyle/>
                    <a:p>
                      <a:pPr algn="ctr"/>
                      <a:r>
                        <a:rPr lang="nb-NO" sz="1400"/>
                        <a:t>Agder</a:t>
                      </a:r>
                      <a:endParaRPr lang="nb-NO" sz="1400" b="1"/>
                    </a:p>
                  </a:txBody>
                  <a:tcPr anchor="ctr"/>
                </a:tc>
                <a:tc>
                  <a:txBody>
                    <a:bodyPr/>
                    <a:lstStyle/>
                    <a:p>
                      <a:pPr algn="ctr"/>
                      <a:r>
                        <a:rPr lang="nb-NO" sz="1400" b="0"/>
                        <a:t>30,9</a:t>
                      </a:r>
                    </a:p>
                  </a:txBody>
                  <a:tcPr anchor="ctr"/>
                </a:tc>
                <a:tc>
                  <a:txBody>
                    <a:bodyPr/>
                    <a:lstStyle/>
                    <a:p>
                      <a:pPr algn="ctr"/>
                      <a:r>
                        <a:rPr lang="nb-NO" sz="1400" b="0"/>
                        <a:t>18,6</a:t>
                      </a:r>
                    </a:p>
                  </a:txBody>
                  <a:tcPr anchor="ctr"/>
                </a:tc>
                <a:tc>
                  <a:txBody>
                    <a:bodyPr/>
                    <a:lstStyle/>
                    <a:p>
                      <a:pPr algn="ctr"/>
                      <a:r>
                        <a:rPr lang="nb-NO" sz="1400" b="0"/>
                        <a:t>44,6</a:t>
                      </a:r>
                    </a:p>
                  </a:txBody>
                  <a:tcPr anchor="ctr"/>
                </a:tc>
                <a:extLst>
                  <a:ext uri="{0D108BD9-81ED-4DB2-BD59-A6C34878D82A}">
                    <a16:rowId xmlns:a16="http://schemas.microsoft.com/office/drawing/2014/main" val="4145178818"/>
                  </a:ext>
                </a:extLst>
              </a:tr>
              <a:tr h="275999">
                <a:tc>
                  <a:txBody>
                    <a:bodyPr/>
                    <a:lstStyle/>
                    <a:p>
                      <a:pPr algn="ctr"/>
                      <a:r>
                        <a:rPr lang="nb-NO" sz="1400"/>
                        <a:t>Norge</a:t>
                      </a:r>
                      <a:endParaRPr lang="nb-NO" sz="1400" b="1"/>
                    </a:p>
                  </a:txBody>
                  <a:tcPr anchor="ctr"/>
                </a:tc>
                <a:tc>
                  <a:txBody>
                    <a:bodyPr/>
                    <a:lstStyle/>
                    <a:p>
                      <a:pPr algn="ctr"/>
                      <a:r>
                        <a:rPr lang="nb-NO" sz="1400" b="0"/>
                        <a:t>25,4</a:t>
                      </a:r>
                    </a:p>
                  </a:txBody>
                  <a:tcPr anchor="ctr"/>
                </a:tc>
                <a:tc>
                  <a:txBody>
                    <a:bodyPr/>
                    <a:lstStyle/>
                    <a:p>
                      <a:pPr algn="ctr"/>
                      <a:r>
                        <a:rPr lang="nb-NO" sz="1400" b="0"/>
                        <a:t>16,3</a:t>
                      </a:r>
                    </a:p>
                  </a:txBody>
                  <a:tcPr anchor="ctr"/>
                </a:tc>
                <a:tc>
                  <a:txBody>
                    <a:bodyPr/>
                    <a:lstStyle/>
                    <a:p>
                      <a:pPr algn="ctr"/>
                      <a:r>
                        <a:rPr lang="nb-NO" sz="1400" b="0"/>
                        <a:t>35,4</a:t>
                      </a:r>
                    </a:p>
                  </a:txBody>
                  <a:tcPr anchor="ctr"/>
                </a:tc>
                <a:extLst>
                  <a:ext uri="{0D108BD9-81ED-4DB2-BD59-A6C34878D82A}">
                    <a16:rowId xmlns:a16="http://schemas.microsoft.com/office/drawing/2014/main" val="2028139095"/>
                  </a:ext>
                </a:extLst>
              </a:tr>
            </a:tbl>
          </a:graphicData>
        </a:graphic>
      </p:graphicFrame>
      <p:pic>
        <p:nvPicPr>
          <p:cNvPr id="10" name="Bilde 9" descr="Linjediagram som viser utviklingen i andel kvinner 20-66 år som jobber deltid. Tidsserie for Agder og Norge. ">
            <a:extLst>
              <a:ext uri="{FF2B5EF4-FFF2-40B4-BE49-F238E27FC236}">
                <a16:creationId xmlns:a16="http://schemas.microsoft.com/office/drawing/2014/main" id="{D69D462F-8223-0935-7B28-35F730F42C79}"/>
              </a:ext>
            </a:extLst>
          </p:cNvPr>
          <p:cNvPicPr>
            <a:picLocks noChangeAspect="1"/>
          </p:cNvPicPr>
          <p:nvPr/>
        </p:nvPicPr>
        <p:blipFill>
          <a:blip r:embed="rId4"/>
          <a:stretch>
            <a:fillRect/>
          </a:stretch>
        </p:blipFill>
        <p:spPr>
          <a:xfrm>
            <a:off x="562104" y="1314370"/>
            <a:ext cx="4733795" cy="2740618"/>
          </a:xfrm>
          <a:prstGeom prst="rect">
            <a:avLst/>
          </a:prstGeom>
        </p:spPr>
      </p:pic>
      <p:pic>
        <p:nvPicPr>
          <p:cNvPr id="11" name="Bilde 10" descr="Et bilde som inneholder kart, tekst, og tall. Kartet viser andel kvinner som jobber deltid i 2022. Tall for alle kommuner i Agder.">
            <a:extLst>
              <a:ext uri="{FF2B5EF4-FFF2-40B4-BE49-F238E27FC236}">
                <a16:creationId xmlns:a16="http://schemas.microsoft.com/office/drawing/2014/main" id="{CAEABCBC-DE6C-E964-9CCE-DA3EA2609265}"/>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164373" y="19049"/>
            <a:ext cx="5675201" cy="5958721"/>
          </a:xfrm>
          <a:prstGeom prst="rect">
            <a:avLst/>
          </a:prstGeom>
        </p:spPr>
      </p:pic>
    </p:spTree>
    <p:extLst>
      <p:ext uri="{BB962C8B-B14F-4D97-AF65-F5344CB8AC3E}">
        <p14:creationId xmlns:p14="http://schemas.microsoft.com/office/powerpoint/2010/main" val="76853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35105" y="295469"/>
            <a:ext cx="10153651" cy="685606"/>
          </a:xfrm>
        </p:spPr>
        <p:txBody>
          <a:bodyPr/>
          <a:lstStyle/>
          <a:p>
            <a:r>
              <a:rPr lang="nb-NO"/>
              <a:t>Sysselsetting etter landbakgrunn</a:t>
            </a:r>
          </a:p>
        </p:txBody>
      </p:sp>
      <p:sp>
        <p:nvSpPr>
          <p:cNvPr id="3" name="TekstSylinder 2"/>
          <p:cNvSpPr txBox="1"/>
          <p:nvPr/>
        </p:nvSpPr>
        <p:spPr>
          <a:xfrm>
            <a:off x="422563" y="1175211"/>
            <a:ext cx="3805307" cy="3139321"/>
          </a:xfrm>
          <a:prstGeom prst="rect">
            <a:avLst/>
          </a:prstGeom>
          <a:noFill/>
        </p:spPr>
        <p:txBody>
          <a:bodyPr wrap="square" rtlCol="0">
            <a:spAutoFit/>
          </a:bodyPr>
          <a:lstStyle/>
          <a:p>
            <a:pPr marL="285750" indent="-285750">
              <a:buFont typeface="Arial" panose="020B0604020202020204" pitchFamily="34" charset="0"/>
              <a:buChar char="•"/>
            </a:pPr>
            <a:r>
              <a:rPr lang="nb-NO"/>
              <a:t>Blant innvandrere – og særlig innvandrere fra Gruppe 2-land – er det en betydelig lavere sysselsetting enn befolkningen for øvrig. </a:t>
            </a:r>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Tallene understreker viktigheten av en målrettet satsing på kvalifisering og inkludering av innvandrere fra Gruppe 2-land til arbeidslivet.</a:t>
            </a:r>
          </a:p>
        </p:txBody>
      </p:sp>
      <p:sp>
        <p:nvSpPr>
          <p:cNvPr id="4" name="TekstSylinder 3">
            <a:extLst>
              <a:ext uri="{FF2B5EF4-FFF2-40B4-BE49-F238E27FC236}">
                <a16:creationId xmlns:a16="http://schemas.microsoft.com/office/drawing/2014/main" id="{B581708A-CA63-3B9F-A11A-A69ABC0C2A63}"/>
              </a:ext>
            </a:extLst>
          </p:cNvPr>
          <p:cNvSpPr txBox="1"/>
          <p:nvPr/>
        </p:nvSpPr>
        <p:spPr>
          <a:xfrm>
            <a:off x="681345" y="4958820"/>
            <a:ext cx="2423432" cy="369332"/>
          </a:xfrm>
          <a:prstGeom prst="rect">
            <a:avLst/>
          </a:prstGeom>
          <a:noFill/>
        </p:spPr>
        <p:txBody>
          <a:bodyPr wrap="square" rtlCol="0">
            <a:spAutoFit/>
          </a:bodyPr>
          <a:lstStyle/>
          <a:p>
            <a:pPr algn="l"/>
            <a:r>
              <a:rPr lang="nb-NO">
                <a:hlinkClick r:id="rId3"/>
              </a:rPr>
              <a:t>Rapport sysselsetting</a:t>
            </a:r>
            <a:endParaRPr lang="nb-NO"/>
          </a:p>
        </p:txBody>
      </p:sp>
      <p:graphicFrame>
        <p:nvGraphicFramePr>
          <p:cNvPr id="5" name="Diagram 4" descr="Stolpediagram som viser andel sysselsatte over tid, landbakgrunn og kjønn. Aldersgruppe 20-66 år. ">
            <a:extLst>
              <a:ext uri="{FF2B5EF4-FFF2-40B4-BE49-F238E27FC236}">
                <a16:creationId xmlns:a16="http://schemas.microsoft.com/office/drawing/2014/main" id="{A9AB4960-5BA5-6AF9-F3ED-65DFE4591263}"/>
              </a:ext>
            </a:extLst>
          </p:cNvPr>
          <p:cNvGraphicFramePr>
            <a:graphicFrameLocks/>
          </p:cNvGraphicFramePr>
          <p:nvPr>
            <p:extLst>
              <p:ext uri="{D42A27DB-BD31-4B8C-83A1-F6EECF244321}">
                <p14:modId xmlns:p14="http://schemas.microsoft.com/office/powerpoint/2010/main" val="280468274"/>
              </p:ext>
            </p:extLst>
          </p:nvPr>
        </p:nvGraphicFramePr>
        <p:xfrm>
          <a:off x="4538281" y="1175210"/>
          <a:ext cx="7231156" cy="425632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1037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10153651" cy="685606"/>
          </a:xfrm>
        </p:spPr>
        <p:txBody>
          <a:bodyPr/>
          <a:lstStyle/>
          <a:p>
            <a:r>
              <a:rPr lang="nb-NO"/>
              <a:t>Vedvarende lavinntekt</a:t>
            </a:r>
          </a:p>
        </p:txBody>
      </p:sp>
      <p:sp>
        <p:nvSpPr>
          <p:cNvPr id="3" name="TekstSylinder 2"/>
          <p:cNvSpPr txBox="1"/>
          <p:nvPr/>
        </p:nvSpPr>
        <p:spPr>
          <a:xfrm>
            <a:off x="422564" y="1175211"/>
            <a:ext cx="3203286" cy="3416320"/>
          </a:xfrm>
          <a:prstGeom prst="rect">
            <a:avLst/>
          </a:prstGeom>
          <a:noFill/>
        </p:spPr>
        <p:txBody>
          <a:bodyPr wrap="square" rtlCol="0">
            <a:spAutoFit/>
          </a:bodyPr>
          <a:lstStyle/>
          <a:p>
            <a:pPr marL="285750" indent="-285750">
              <a:buFont typeface="Arial" panose="020B0604020202020204" pitchFamily="34" charset="0"/>
              <a:buChar char="•"/>
            </a:pPr>
            <a:r>
              <a:rPr lang="nb-NO"/>
              <a:t>Inntekt og økonomi er grunnleggende påvirkningsfaktorer for helse, og forskning har vist at det er en sammenheng mellom inntektsnivå og helsetilstand.</a:t>
            </a:r>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Lav inntekt øker sannsynligheten for dårlig selvopplevd helse, sykdom og for tidlig død.</a:t>
            </a:r>
          </a:p>
        </p:txBody>
      </p:sp>
      <p:sp>
        <p:nvSpPr>
          <p:cNvPr id="4" name="TekstSylinder 3">
            <a:extLst>
              <a:ext uri="{FF2B5EF4-FFF2-40B4-BE49-F238E27FC236}">
                <a16:creationId xmlns:a16="http://schemas.microsoft.com/office/drawing/2014/main" id="{AE078CED-F5E9-7D89-CAC1-210A292ABEFC}"/>
              </a:ext>
            </a:extLst>
          </p:cNvPr>
          <p:cNvSpPr txBox="1"/>
          <p:nvPr/>
        </p:nvSpPr>
        <p:spPr>
          <a:xfrm>
            <a:off x="693477" y="4938155"/>
            <a:ext cx="2423432" cy="369332"/>
          </a:xfrm>
          <a:prstGeom prst="rect">
            <a:avLst/>
          </a:prstGeom>
          <a:noFill/>
        </p:spPr>
        <p:txBody>
          <a:bodyPr wrap="square" rtlCol="0">
            <a:spAutoFit/>
          </a:bodyPr>
          <a:lstStyle/>
          <a:p>
            <a:pPr algn="l"/>
            <a:r>
              <a:rPr lang="nb-NO">
                <a:hlinkClick r:id="rId3"/>
              </a:rPr>
              <a:t>Rapport lavinntekt</a:t>
            </a:r>
            <a:endParaRPr lang="nb-NO"/>
          </a:p>
        </p:txBody>
      </p:sp>
      <p:graphicFrame>
        <p:nvGraphicFramePr>
          <p:cNvPr id="5" name="Diagram 4" descr="Stolpediagram som viser andel personer i husholdninger med vedvarende lavinntekt (EU60). Tidsserie fra 2010-2022. Sammenligner Norge, Agder og Arendal.">
            <a:extLst>
              <a:ext uri="{FF2B5EF4-FFF2-40B4-BE49-F238E27FC236}">
                <a16:creationId xmlns:a16="http://schemas.microsoft.com/office/drawing/2014/main" id="{1E871170-F82D-1EDA-BE6F-558892AFB706}"/>
              </a:ext>
            </a:extLst>
          </p:cNvPr>
          <p:cNvGraphicFramePr>
            <a:graphicFrameLocks/>
          </p:cNvGraphicFramePr>
          <p:nvPr>
            <p:extLst>
              <p:ext uri="{D42A27DB-BD31-4B8C-83A1-F6EECF244321}">
                <p14:modId xmlns:p14="http://schemas.microsoft.com/office/powerpoint/2010/main" val="1691118827"/>
              </p:ext>
            </p:extLst>
          </p:nvPr>
        </p:nvGraphicFramePr>
        <p:xfrm>
          <a:off x="4169092" y="1302067"/>
          <a:ext cx="7877175" cy="443674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21633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3115019" cy="685606"/>
          </a:xfrm>
        </p:spPr>
        <p:txBody>
          <a:bodyPr/>
          <a:lstStyle/>
          <a:p>
            <a:r>
              <a:rPr lang="nb-NO"/>
              <a:t>Tannhelse</a:t>
            </a:r>
          </a:p>
        </p:txBody>
      </p:sp>
      <p:sp>
        <p:nvSpPr>
          <p:cNvPr id="3" name="TekstSylinder 2"/>
          <p:cNvSpPr txBox="1"/>
          <p:nvPr/>
        </p:nvSpPr>
        <p:spPr>
          <a:xfrm>
            <a:off x="422563" y="1175211"/>
            <a:ext cx="3838775" cy="3970318"/>
          </a:xfrm>
          <a:prstGeom prst="rect">
            <a:avLst/>
          </a:prstGeom>
          <a:noFill/>
        </p:spPr>
        <p:txBody>
          <a:bodyPr wrap="square" rtlCol="0">
            <a:spAutoFit/>
          </a:bodyPr>
          <a:lstStyle/>
          <a:p>
            <a:pPr marL="285750" indent="-285750">
              <a:buFont typeface="Arial" panose="020B0604020202020204" pitchFamily="34" charset="0"/>
              <a:buChar char="•"/>
            </a:pPr>
            <a:r>
              <a:rPr lang="nb-NO"/>
              <a:t>Den offentlige tannhelsetjenesten overvåker tannhelsen i den unge befolkning gjennom systematiske registreringer av antall nye hull, tannflater med fyllinger og tapte tenner (DMFT). </a:t>
            </a:r>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Registreringene gir et grovt mål på utviklingen i tannhelsen over flere år, og gir mulighet for å sammenligne tannhelsen mellom kommuner, fylker og gjennomsnitt for landet.</a:t>
            </a:r>
            <a:endParaRPr lang="nb-NO">
              <a:solidFill>
                <a:srgbClr val="FF0000"/>
              </a:solidFill>
            </a:endParaRPr>
          </a:p>
        </p:txBody>
      </p:sp>
      <p:sp>
        <p:nvSpPr>
          <p:cNvPr id="7" name="TekstSylinder 6">
            <a:extLst>
              <a:ext uri="{FF2B5EF4-FFF2-40B4-BE49-F238E27FC236}">
                <a16:creationId xmlns:a16="http://schemas.microsoft.com/office/drawing/2014/main" id="{1A564FF0-F000-0644-C9E7-71F241E7A07C}"/>
              </a:ext>
            </a:extLst>
          </p:cNvPr>
          <p:cNvSpPr txBox="1"/>
          <p:nvPr/>
        </p:nvSpPr>
        <p:spPr>
          <a:xfrm>
            <a:off x="731568" y="5383632"/>
            <a:ext cx="2423432" cy="369332"/>
          </a:xfrm>
          <a:prstGeom prst="rect">
            <a:avLst/>
          </a:prstGeom>
          <a:noFill/>
        </p:spPr>
        <p:txBody>
          <a:bodyPr wrap="square" rtlCol="0">
            <a:spAutoFit/>
          </a:bodyPr>
          <a:lstStyle/>
          <a:p>
            <a:pPr algn="l"/>
            <a:r>
              <a:rPr lang="nb-NO">
                <a:hlinkClick r:id="rId3"/>
              </a:rPr>
              <a:t>Rapport tannhelse </a:t>
            </a:r>
            <a:endParaRPr lang="nb-NO"/>
          </a:p>
        </p:txBody>
      </p:sp>
      <p:graphicFrame>
        <p:nvGraphicFramePr>
          <p:cNvPr id="8" name="Diagram 7" descr="Linjediagram som viser antall 5-åringer i perioden fra 2002.">
            <a:extLst>
              <a:ext uri="{FF2B5EF4-FFF2-40B4-BE49-F238E27FC236}">
                <a16:creationId xmlns:a16="http://schemas.microsoft.com/office/drawing/2014/main" id="{00000000-0008-0000-0200-000002000000}"/>
              </a:ext>
            </a:extLst>
          </p:cNvPr>
          <p:cNvGraphicFramePr>
            <a:graphicFrameLocks/>
          </p:cNvGraphicFramePr>
          <p:nvPr>
            <p:extLst>
              <p:ext uri="{D42A27DB-BD31-4B8C-83A1-F6EECF244321}">
                <p14:modId xmlns:p14="http://schemas.microsoft.com/office/powerpoint/2010/main" val="541228966"/>
              </p:ext>
            </p:extLst>
          </p:nvPr>
        </p:nvGraphicFramePr>
        <p:xfrm>
          <a:off x="5103200" y="4421629"/>
          <a:ext cx="6076950" cy="1447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Diagram 8" descr="Stolpediagram som viser andel 5-åringer med feilfrie tenner.">
            <a:extLst>
              <a:ext uri="{FF2B5EF4-FFF2-40B4-BE49-F238E27FC236}">
                <a16:creationId xmlns:a16="http://schemas.microsoft.com/office/drawing/2014/main" id="{028D2252-F4B0-498F-AA99-FB6CF217ADD0}"/>
              </a:ext>
            </a:extLst>
          </p:cNvPr>
          <p:cNvGraphicFramePr>
            <a:graphicFrameLocks/>
          </p:cNvGraphicFramePr>
          <p:nvPr>
            <p:extLst>
              <p:ext uri="{D42A27DB-BD31-4B8C-83A1-F6EECF244321}">
                <p14:modId xmlns:p14="http://schemas.microsoft.com/office/powerpoint/2010/main" val="2197115910"/>
              </p:ext>
            </p:extLst>
          </p:nvPr>
        </p:nvGraphicFramePr>
        <p:xfrm>
          <a:off x="5103200" y="807594"/>
          <a:ext cx="6076950" cy="162877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Diagram 9" descr="Stolpediagram som viser antall tenner med fylling eller hull for 5-åringer. ">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2433718918"/>
              </p:ext>
            </p:extLst>
          </p:nvPr>
        </p:nvGraphicFramePr>
        <p:xfrm>
          <a:off x="5103200" y="2619375"/>
          <a:ext cx="6086474" cy="161925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990372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351109"/>
            <a:ext cx="10164763" cy="1021481"/>
          </a:xfrm>
        </p:spPr>
        <p:txBody>
          <a:bodyPr/>
          <a:lstStyle/>
          <a:p>
            <a:r>
              <a:rPr lang="nb-NO"/>
              <a:t>Klima og miljø</a:t>
            </a:r>
          </a:p>
        </p:txBody>
      </p:sp>
      <p:sp>
        <p:nvSpPr>
          <p:cNvPr id="3" name="Undertittel 2"/>
          <p:cNvSpPr>
            <a:spLocks noGrp="1"/>
          </p:cNvSpPr>
          <p:nvPr>
            <p:ph type="subTitle" idx="1"/>
          </p:nvPr>
        </p:nvSpPr>
        <p:spPr>
          <a:xfrm>
            <a:off x="1193800" y="2618427"/>
            <a:ext cx="10171112" cy="1541688"/>
          </a:xfrm>
        </p:spPr>
        <p:txBody>
          <a:bodyPr/>
          <a:lstStyle/>
          <a:p>
            <a:r>
              <a:rPr lang="nb-NO" i="1"/>
              <a:t>Regionplan Agder 2030 tegner et fremtidsbilde der Agder har redusert klimagassutslipp med minst 45 prosent. Nødvendig infrastruktur for et fullelektrisk samfunn er bygd ut, mens informasjons- og kommunikasjonsteknologi har gjort det enkelt å velge den mest klimavennlige løsningen for innbyggerne og besøkende. Natur- og landbruksområder er ivaretatt for fremtidige generasjoner, og er en del av regionens ressursgrunnlag og identite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9151" y="5431693"/>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8569" y="5431693"/>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17987" y="5431693"/>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47405" y="5435238"/>
            <a:ext cx="1130400" cy="1130400"/>
          </a:xfrm>
          <a:prstGeom prst="rect">
            <a:avLst/>
          </a:prstGeom>
        </p:spPr>
      </p:pic>
    </p:spTree>
    <p:extLst>
      <p:ext uri="{BB962C8B-B14F-4D97-AF65-F5344CB8AC3E}">
        <p14:creationId xmlns:p14="http://schemas.microsoft.com/office/powerpoint/2010/main" val="44542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descr="Kommunevåpe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2451" y="247324"/>
            <a:ext cx="691435" cy="782757"/>
          </a:xfrm>
          <a:prstGeom prst="rect">
            <a:avLst/>
          </a:prstGeom>
        </p:spPr>
      </p:pic>
      <p:sp>
        <p:nvSpPr>
          <p:cNvPr id="2" name="Tittel 1"/>
          <p:cNvSpPr>
            <a:spLocks noGrp="1"/>
          </p:cNvSpPr>
          <p:nvPr>
            <p:ph type="title"/>
          </p:nvPr>
        </p:nvSpPr>
        <p:spPr>
          <a:xfrm>
            <a:off x="1564106" y="344475"/>
            <a:ext cx="8064645" cy="685606"/>
          </a:xfrm>
        </p:spPr>
        <p:txBody>
          <a:bodyPr/>
          <a:lstStyle/>
          <a:p>
            <a:r>
              <a:rPr lang="nb-NO" sz="3200"/>
              <a:t>Kjappe fakta om Flekkefjord kommune</a:t>
            </a:r>
          </a:p>
        </p:txBody>
      </p:sp>
      <p:graphicFrame>
        <p:nvGraphicFramePr>
          <p:cNvPr id="3" name="Tabell 2" descr="Tabell som viser areal (km2) i kommunen."/>
          <p:cNvGraphicFramePr>
            <a:graphicFrameLocks noGrp="1"/>
          </p:cNvGraphicFramePr>
          <p:nvPr>
            <p:extLst>
              <p:ext uri="{D42A27DB-BD31-4B8C-83A1-F6EECF244321}">
                <p14:modId xmlns:p14="http://schemas.microsoft.com/office/powerpoint/2010/main" val="1213711508"/>
              </p:ext>
            </p:extLst>
          </p:nvPr>
        </p:nvGraphicFramePr>
        <p:xfrm>
          <a:off x="748169"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a:t>Areal</a:t>
                      </a:r>
                      <a:r>
                        <a:rPr lang="nb-NO" sz="1200" baseline="0"/>
                        <a:t> (km2)</a:t>
                      </a:r>
                      <a:endParaRPr lang="nb-NO" sz="1200"/>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Areal</a:t>
                      </a:r>
                    </a:p>
                  </a:txBody>
                  <a:tcPr/>
                </a:tc>
                <a:tc>
                  <a:txBody>
                    <a:bodyPr/>
                    <a:lstStyle/>
                    <a:p>
                      <a:pPr algn="ctr"/>
                      <a:r>
                        <a:rPr lang="nb-NO" sz="1200"/>
                        <a:t>543,9</a:t>
                      </a:r>
                    </a:p>
                  </a:txBody>
                  <a:tcPr/>
                </a:tc>
                <a:extLst>
                  <a:ext uri="{0D108BD9-81ED-4DB2-BD59-A6C34878D82A}">
                    <a16:rowId xmlns:a16="http://schemas.microsoft.com/office/drawing/2014/main" val="3696038960"/>
                  </a:ext>
                </a:extLst>
              </a:tr>
              <a:tr h="312707">
                <a:tc>
                  <a:txBody>
                    <a:bodyPr/>
                    <a:lstStyle/>
                    <a:p>
                      <a:r>
                        <a:rPr lang="nb-NO" sz="1200"/>
                        <a:t>Landareal</a:t>
                      </a:r>
                    </a:p>
                  </a:txBody>
                  <a:tcPr/>
                </a:tc>
                <a:tc>
                  <a:txBody>
                    <a:bodyPr/>
                    <a:lstStyle/>
                    <a:p>
                      <a:pPr algn="ctr"/>
                      <a:r>
                        <a:rPr lang="nb-NO" sz="1200"/>
                        <a:t>480,5</a:t>
                      </a:r>
                    </a:p>
                  </a:txBody>
                  <a:tcPr/>
                </a:tc>
                <a:extLst>
                  <a:ext uri="{0D108BD9-81ED-4DB2-BD59-A6C34878D82A}">
                    <a16:rowId xmlns:a16="http://schemas.microsoft.com/office/drawing/2014/main" val="291333389"/>
                  </a:ext>
                </a:extLst>
              </a:tr>
              <a:tr h="312707">
                <a:tc>
                  <a:txBody>
                    <a:bodyPr/>
                    <a:lstStyle/>
                    <a:p>
                      <a:r>
                        <a:rPr lang="nb-NO" sz="1200"/>
                        <a:t>Bebygd/samferdsel areal</a:t>
                      </a:r>
                    </a:p>
                  </a:txBody>
                  <a:tcPr/>
                </a:tc>
                <a:tc>
                  <a:txBody>
                    <a:bodyPr/>
                    <a:lstStyle/>
                    <a:p>
                      <a:pPr algn="ctr"/>
                      <a:r>
                        <a:rPr lang="nb-NO" sz="1200"/>
                        <a:t>11,9</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Ferskvann</a:t>
                      </a:r>
                    </a:p>
                  </a:txBody>
                  <a:tcPr/>
                </a:tc>
                <a:tc>
                  <a:txBody>
                    <a:bodyPr/>
                    <a:lstStyle/>
                    <a:p>
                      <a:pPr algn="ctr"/>
                      <a:r>
                        <a:rPr lang="nb-NO" sz="1200"/>
                        <a:t>63,4</a:t>
                      </a:r>
                    </a:p>
                  </a:txBody>
                  <a:tcPr/>
                </a:tc>
                <a:extLst>
                  <a:ext uri="{0D108BD9-81ED-4DB2-BD59-A6C34878D82A}">
                    <a16:rowId xmlns:a16="http://schemas.microsoft.com/office/drawing/2014/main" val="24486231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Jordbruksarea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a:t>17,1</a:t>
                      </a:r>
                    </a:p>
                  </a:txBody>
                  <a:tcPr/>
                </a:tc>
                <a:extLst>
                  <a:ext uri="{0D108BD9-81ED-4DB2-BD59-A6C34878D82A}">
                    <a16:rowId xmlns:a16="http://schemas.microsoft.com/office/drawing/2014/main" val="21802029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Vernet areal</a:t>
                      </a:r>
                    </a:p>
                  </a:txBody>
                  <a:tcPr/>
                </a:tc>
                <a:tc>
                  <a:txBody>
                    <a:bodyPr/>
                    <a:lstStyle/>
                    <a:p>
                      <a:pPr algn="ctr"/>
                      <a:r>
                        <a:rPr lang="nb-NO" sz="1200"/>
                        <a:t>61,9</a:t>
                      </a:r>
                    </a:p>
                  </a:txBody>
                  <a:tcPr/>
                </a:tc>
                <a:extLst>
                  <a:ext uri="{0D108BD9-81ED-4DB2-BD59-A6C34878D82A}">
                    <a16:rowId xmlns:a16="http://schemas.microsoft.com/office/drawing/2014/main" val="368672057"/>
                  </a:ext>
                </a:extLst>
              </a:tr>
            </a:tbl>
          </a:graphicData>
        </a:graphic>
      </p:graphicFrame>
      <p:graphicFrame>
        <p:nvGraphicFramePr>
          <p:cNvPr id="10" name="Tabell 9" descr="Tabell som viser tjenester i kommunen."/>
          <p:cNvGraphicFramePr>
            <a:graphicFrameLocks noGrp="1"/>
          </p:cNvGraphicFramePr>
          <p:nvPr>
            <p:extLst>
              <p:ext uri="{D42A27DB-BD31-4B8C-83A1-F6EECF244321}">
                <p14:modId xmlns:p14="http://schemas.microsoft.com/office/powerpoint/2010/main" val="3194187868"/>
              </p:ext>
            </p:extLst>
          </p:nvPr>
        </p:nvGraphicFramePr>
        <p:xfrm>
          <a:off x="748169" y="3843728"/>
          <a:ext cx="3986158" cy="1876242"/>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a:t>Tjenester</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Barneskoler</a:t>
                      </a:r>
                    </a:p>
                  </a:txBody>
                  <a:tcPr/>
                </a:tc>
                <a:tc>
                  <a:txBody>
                    <a:bodyPr/>
                    <a:lstStyle/>
                    <a:p>
                      <a:pPr algn="ctr"/>
                      <a:r>
                        <a:rPr lang="nb-NO" sz="1200">
                          <a:solidFill>
                            <a:schemeClr val="tx1"/>
                          </a:solidFill>
                        </a:rPr>
                        <a:t>5 (757</a:t>
                      </a:r>
                      <a:r>
                        <a:rPr lang="nb-NO" sz="1200" baseline="0">
                          <a:solidFill>
                            <a:schemeClr val="tx1"/>
                          </a:solidFill>
                        </a:rPr>
                        <a:t> elever)</a:t>
                      </a:r>
                      <a:endParaRPr lang="nb-NO" sz="1200">
                        <a:solidFill>
                          <a:schemeClr val="tx1"/>
                        </a:solidFill>
                      </a:endParaRPr>
                    </a:p>
                  </a:txBody>
                  <a:tcPr/>
                </a:tc>
                <a:extLst>
                  <a:ext uri="{0D108BD9-81ED-4DB2-BD59-A6C34878D82A}">
                    <a16:rowId xmlns:a16="http://schemas.microsoft.com/office/drawing/2014/main" val="3696038960"/>
                  </a:ext>
                </a:extLst>
              </a:tr>
              <a:tr h="312707">
                <a:tc>
                  <a:txBody>
                    <a:bodyPr/>
                    <a:lstStyle/>
                    <a:p>
                      <a:r>
                        <a:rPr lang="nb-NO" sz="1200"/>
                        <a:t>Ungdomsskoler</a:t>
                      </a:r>
                    </a:p>
                  </a:txBody>
                  <a:tcPr/>
                </a:tc>
                <a:tc>
                  <a:txBody>
                    <a:bodyPr/>
                    <a:lstStyle/>
                    <a:p>
                      <a:pPr algn="ctr"/>
                      <a:r>
                        <a:rPr lang="nb-NO" sz="1200">
                          <a:solidFill>
                            <a:schemeClr val="tx1"/>
                          </a:solidFill>
                        </a:rPr>
                        <a:t>1 (397 elever)</a:t>
                      </a:r>
                    </a:p>
                  </a:txBody>
                  <a:tcPr/>
                </a:tc>
                <a:extLst>
                  <a:ext uri="{0D108BD9-81ED-4DB2-BD59-A6C34878D82A}">
                    <a16:rowId xmlns:a16="http://schemas.microsoft.com/office/drawing/2014/main" val="291333389"/>
                  </a:ext>
                </a:extLst>
              </a:tr>
              <a:tr h="312707">
                <a:tc>
                  <a:txBody>
                    <a:bodyPr/>
                    <a:lstStyle/>
                    <a:p>
                      <a:r>
                        <a:rPr lang="nb-NO" sz="1200"/>
                        <a:t>Videregående skoler</a:t>
                      </a:r>
                    </a:p>
                  </a:txBody>
                  <a:tcPr/>
                </a:tc>
                <a:tc>
                  <a:txBody>
                    <a:bodyPr/>
                    <a:lstStyle/>
                    <a:p>
                      <a:pPr algn="ctr"/>
                      <a:r>
                        <a:rPr lang="nb-NO" sz="1200">
                          <a:solidFill>
                            <a:schemeClr val="tx1"/>
                          </a:solidFill>
                        </a:rPr>
                        <a:t>Flekkefjord </a:t>
                      </a:r>
                      <a:r>
                        <a:rPr lang="nb-NO" sz="1200" err="1">
                          <a:solidFill>
                            <a:schemeClr val="tx1"/>
                          </a:solidFill>
                        </a:rPr>
                        <a:t>vgs</a:t>
                      </a:r>
                      <a:endParaRPr lang="nb-NO" sz="1200">
                        <a:solidFill>
                          <a:schemeClr val="tx1"/>
                        </a:solidFill>
                      </a:endParaRP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Tannklinikk</a:t>
                      </a:r>
                    </a:p>
                  </a:txBody>
                  <a:tcPr/>
                </a:tc>
                <a:tc>
                  <a:txBody>
                    <a:bodyPr/>
                    <a:lstStyle/>
                    <a:p>
                      <a:pPr algn="ctr"/>
                      <a:r>
                        <a:rPr lang="nb-NO" sz="1200">
                          <a:solidFill>
                            <a:schemeClr val="tx1"/>
                          </a:solidFill>
                        </a:rPr>
                        <a:t>Flekkefjord</a:t>
                      </a:r>
                    </a:p>
                  </a:txBody>
                  <a:tcPr/>
                </a:tc>
                <a:extLst>
                  <a:ext uri="{0D108BD9-81ED-4DB2-BD59-A6C34878D82A}">
                    <a16:rowId xmlns:a16="http://schemas.microsoft.com/office/drawing/2014/main" val="3931694125"/>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Fylkesvei (km)</a:t>
                      </a:r>
                    </a:p>
                  </a:txBody>
                  <a:tcPr/>
                </a:tc>
                <a:tc>
                  <a:txBody>
                    <a:bodyPr/>
                    <a:lstStyle/>
                    <a:p>
                      <a:pPr algn="ctr"/>
                      <a:r>
                        <a:rPr lang="nb-NO" sz="1200"/>
                        <a:t>186</a:t>
                      </a:r>
                    </a:p>
                  </a:txBody>
                  <a:tcPr/>
                </a:tc>
                <a:extLst>
                  <a:ext uri="{0D108BD9-81ED-4DB2-BD59-A6C34878D82A}">
                    <a16:rowId xmlns:a16="http://schemas.microsoft.com/office/drawing/2014/main" val="2404607909"/>
                  </a:ext>
                </a:extLst>
              </a:tr>
            </a:tbl>
          </a:graphicData>
        </a:graphic>
      </p:graphicFrame>
      <p:graphicFrame>
        <p:nvGraphicFramePr>
          <p:cNvPr id="9" name="Tabell 8" descr="Nøkkelinformasjon om befolkningen i kommunen."/>
          <p:cNvGraphicFramePr>
            <a:graphicFrameLocks noGrp="1"/>
          </p:cNvGraphicFramePr>
          <p:nvPr>
            <p:extLst>
              <p:ext uri="{D42A27DB-BD31-4B8C-83A1-F6EECF244321}">
                <p14:modId xmlns:p14="http://schemas.microsoft.com/office/powerpoint/2010/main" val="4227854656"/>
              </p:ext>
            </p:extLst>
          </p:nvPr>
        </p:nvGraphicFramePr>
        <p:xfrm>
          <a:off x="4992520"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a:t>Folk</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Folketall</a:t>
                      </a:r>
                    </a:p>
                  </a:txBody>
                  <a:tcPr/>
                </a:tc>
                <a:tc>
                  <a:txBody>
                    <a:bodyPr/>
                    <a:lstStyle/>
                    <a:p>
                      <a:pPr algn="ctr"/>
                      <a:r>
                        <a:rPr lang="nb-NO" sz="1200"/>
                        <a:t>9</a:t>
                      </a:r>
                      <a:r>
                        <a:rPr lang="nb-NO" sz="1200" baseline="0"/>
                        <a:t> 279</a:t>
                      </a:r>
                      <a:endParaRPr lang="nb-NO" sz="1200"/>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kvinner</a:t>
                      </a:r>
                    </a:p>
                  </a:txBody>
                  <a:tcPr/>
                </a:tc>
                <a:tc>
                  <a:txBody>
                    <a:bodyPr/>
                    <a:lstStyle/>
                    <a:p>
                      <a:pPr algn="ctr"/>
                      <a:r>
                        <a:rPr lang="nb-NO" sz="1200"/>
                        <a:t>49,4 (Agder:</a:t>
                      </a:r>
                      <a:r>
                        <a:rPr lang="nb-NO" sz="1200" baseline="0"/>
                        <a:t> </a:t>
                      </a:r>
                      <a:r>
                        <a:rPr lang="nb-NO" sz="1200"/>
                        <a:t>49,8)</a:t>
                      </a:r>
                    </a:p>
                  </a:txBody>
                  <a:tcPr/>
                </a:tc>
                <a:extLst>
                  <a:ext uri="{0D108BD9-81ED-4DB2-BD59-A6C34878D82A}">
                    <a16:rowId xmlns:a16="http://schemas.microsoft.com/office/drawing/2014/main" val="29133338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i tettsted (SSB)</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a:t>74 %</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Gjennomsnittsalder</a:t>
                      </a:r>
                    </a:p>
                  </a:txBody>
                  <a:tcPr/>
                </a:tc>
                <a:tc>
                  <a:txBody>
                    <a:bodyPr/>
                    <a:lstStyle/>
                    <a:p>
                      <a:pPr algn="ctr"/>
                      <a:r>
                        <a:rPr lang="nb-NO" sz="1200" baseline="0"/>
                        <a:t>menn 41,4 - kvinner</a:t>
                      </a:r>
                      <a:r>
                        <a:rPr lang="nb-NO" sz="1200"/>
                        <a:t> 42,9 </a:t>
                      </a:r>
                    </a:p>
                  </a:txBody>
                  <a:tcPr/>
                </a:tc>
                <a:extLst>
                  <a:ext uri="{0D108BD9-81ED-4DB2-BD59-A6C34878D82A}">
                    <a16:rowId xmlns:a16="http://schemas.microsoft.com/office/drawing/2014/main" val="3931694125"/>
                  </a:ext>
                </a:extLst>
              </a:tr>
              <a:tr h="312707">
                <a:tc>
                  <a:txBody>
                    <a:bodyPr/>
                    <a:lstStyle/>
                    <a:p>
                      <a:r>
                        <a:rPr lang="nb-NO" sz="1200"/>
                        <a:t>Forventet levealder</a:t>
                      </a:r>
                    </a:p>
                  </a:txBody>
                  <a:tcPr/>
                </a:tc>
                <a:tc>
                  <a:txBody>
                    <a:bodyPr/>
                    <a:lstStyle/>
                    <a:p>
                      <a:pPr algn="ctr"/>
                      <a:r>
                        <a:rPr lang="nb-NO" sz="1200">
                          <a:solidFill>
                            <a:schemeClr val="tx1"/>
                          </a:solidFill>
                        </a:rPr>
                        <a:t>menn 79,8 - kvinner 84,0</a:t>
                      </a:r>
                    </a:p>
                  </a:txBody>
                  <a:tcPr/>
                </a:tc>
                <a:extLst>
                  <a:ext uri="{0D108BD9-81ED-4DB2-BD59-A6C34878D82A}">
                    <a16:rowId xmlns:a16="http://schemas.microsoft.com/office/drawing/2014/main" val="2448623123"/>
                  </a:ext>
                </a:extLst>
              </a:tr>
              <a:tr h="312707">
                <a:tc>
                  <a:txBody>
                    <a:bodyPr/>
                    <a:lstStyle/>
                    <a:p>
                      <a:pPr lvl="0">
                        <a:buNone/>
                      </a:pPr>
                      <a:r>
                        <a:rPr lang="nb-NO" sz="1200" b="0" u="none" strike="noStrike" noProof="0">
                          <a:solidFill>
                            <a:schemeClr val="tx1"/>
                          </a:solidFill>
                        </a:rPr>
                        <a:t>Personer per husholdning</a:t>
                      </a:r>
                      <a:endParaRPr lang="nb-NO">
                        <a:solidFill>
                          <a:schemeClr val="tx1"/>
                        </a:solidFill>
                      </a:endParaRPr>
                    </a:p>
                  </a:txBody>
                  <a:tcPr/>
                </a:tc>
                <a:tc>
                  <a:txBody>
                    <a:bodyPr/>
                    <a:lstStyle/>
                    <a:p>
                      <a:pPr lvl="0" algn="ctr">
                        <a:buNone/>
                      </a:pPr>
                      <a:r>
                        <a:rPr lang="nb-NO" sz="1200" b="0" u="none" strike="noStrike" noProof="0">
                          <a:solidFill>
                            <a:schemeClr val="tx1"/>
                          </a:solidFill>
                        </a:rPr>
                        <a:t>2,18 (Agder: 2,15)</a:t>
                      </a:r>
                      <a:endParaRPr lang="nb-NO">
                        <a:solidFill>
                          <a:schemeClr val="tx1"/>
                        </a:solidFill>
                      </a:endParaRPr>
                    </a:p>
                  </a:txBody>
                  <a:tcPr/>
                </a:tc>
                <a:extLst>
                  <a:ext uri="{0D108BD9-81ED-4DB2-BD59-A6C34878D82A}">
                    <a16:rowId xmlns:a16="http://schemas.microsoft.com/office/drawing/2014/main" val="430348023"/>
                  </a:ext>
                </a:extLst>
              </a:tr>
            </a:tbl>
          </a:graphicData>
        </a:graphic>
      </p:graphicFrame>
      <p:graphicFrame>
        <p:nvGraphicFramePr>
          <p:cNvPr id="8" name="Tabell 7" descr="Tabell som viser nøkkelinformasjon om kommunen."/>
          <p:cNvGraphicFramePr>
            <a:graphicFrameLocks noGrp="1"/>
          </p:cNvGraphicFramePr>
          <p:nvPr>
            <p:extLst>
              <p:ext uri="{D42A27DB-BD31-4B8C-83A1-F6EECF244321}">
                <p14:modId xmlns:p14="http://schemas.microsoft.com/office/powerpoint/2010/main" val="388942055"/>
              </p:ext>
            </p:extLst>
          </p:nvPr>
        </p:nvGraphicFramePr>
        <p:xfrm>
          <a:off x="4992520" y="3843728"/>
          <a:ext cx="3986158" cy="1876242"/>
        </p:xfrm>
        <a:graphic>
          <a:graphicData uri="http://schemas.openxmlformats.org/drawingml/2006/table">
            <a:tbl>
              <a:tblPr firstRow="1" bandRow="1">
                <a:tableStyleId>{7DF18680-E054-41AD-8BC1-D1AEF772440D}</a:tableStyleId>
              </a:tblPr>
              <a:tblGrid>
                <a:gridCol w="2067703">
                  <a:extLst>
                    <a:ext uri="{9D8B030D-6E8A-4147-A177-3AD203B41FA5}">
                      <a16:colId xmlns:a16="http://schemas.microsoft.com/office/drawing/2014/main" val="1134397318"/>
                    </a:ext>
                  </a:extLst>
                </a:gridCol>
                <a:gridCol w="1918455">
                  <a:extLst>
                    <a:ext uri="{9D8B030D-6E8A-4147-A177-3AD203B41FA5}">
                      <a16:colId xmlns:a16="http://schemas.microsoft.com/office/drawing/2014/main" val="4088212826"/>
                    </a:ext>
                  </a:extLst>
                </a:gridCol>
              </a:tblGrid>
              <a:tr h="312707">
                <a:tc gridSpan="2">
                  <a:txBody>
                    <a:bodyPr/>
                    <a:lstStyle/>
                    <a:p>
                      <a:pPr algn="ctr"/>
                      <a:r>
                        <a:rPr lang="nb-NO" sz="1200"/>
                        <a:t>Samfunn</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Administrasjonssenter</a:t>
                      </a:r>
                    </a:p>
                  </a:txBody>
                  <a:tcPr/>
                </a:tc>
                <a:tc>
                  <a:txBody>
                    <a:bodyPr/>
                    <a:lstStyle/>
                    <a:p>
                      <a:pPr algn="ctr"/>
                      <a:r>
                        <a:rPr lang="nb-NO" sz="1200">
                          <a:solidFill>
                            <a:schemeClr val="tx1"/>
                          </a:solidFill>
                        </a:rPr>
                        <a:t>Flekkefjord</a:t>
                      </a:r>
                    </a:p>
                  </a:txBody>
                  <a:tcPr/>
                </a:tc>
                <a:extLst>
                  <a:ext uri="{0D108BD9-81ED-4DB2-BD59-A6C34878D82A}">
                    <a16:rowId xmlns:a16="http://schemas.microsoft.com/office/drawing/2014/main" val="3696038960"/>
                  </a:ext>
                </a:extLst>
              </a:tr>
              <a:tr h="312707">
                <a:tc>
                  <a:txBody>
                    <a:bodyPr/>
                    <a:lstStyle/>
                    <a:p>
                      <a:r>
                        <a:rPr lang="nb-NO" sz="1200"/>
                        <a:t>Interkommunalt politisk</a:t>
                      </a:r>
                      <a:r>
                        <a:rPr lang="nb-NO" sz="1200" baseline="0"/>
                        <a:t> råd</a:t>
                      </a:r>
                      <a:endParaRPr lang="nb-NO" sz="1200"/>
                    </a:p>
                  </a:txBody>
                  <a:tcPr/>
                </a:tc>
                <a:tc>
                  <a:txBody>
                    <a:bodyPr/>
                    <a:lstStyle/>
                    <a:p>
                      <a:pPr algn="ctr"/>
                      <a:r>
                        <a:rPr lang="nb-NO" sz="1200"/>
                        <a:t>Lister</a:t>
                      </a:r>
                    </a:p>
                  </a:txBody>
                  <a:tcPr/>
                </a:tc>
                <a:extLst>
                  <a:ext uri="{0D108BD9-81ED-4DB2-BD59-A6C34878D82A}">
                    <a16:rowId xmlns:a16="http://schemas.microsoft.com/office/drawing/2014/main" val="291333389"/>
                  </a:ext>
                </a:extLst>
              </a:tr>
              <a:tr h="312707">
                <a:tc>
                  <a:txBody>
                    <a:bodyPr/>
                    <a:lstStyle/>
                    <a:p>
                      <a:r>
                        <a:rPr lang="nb-NO" sz="1200"/>
                        <a:t>Sentralitetsklasse</a:t>
                      </a:r>
                    </a:p>
                  </a:txBody>
                  <a:tcPr/>
                </a:tc>
                <a:tc>
                  <a:txBody>
                    <a:bodyPr/>
                    <a:lstStyle/>
                    <a:p>
                      <a:pPr algn="ctr"/>
                      <a:r>
                        <a:rPr lang="nb-NO" sz="1200"/>
                        <a:t>4</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err="1"/>
                        <a:t>Distriktsindeks</a:t>
                      </a:r>
                      <a:endParaRPr lang="nb-NO" sz="1200"/>
                    </a:p>
                  </a:txBody>
                  <a:tcPr/>
                </a:tc>
                <a:tc>
                  <a:txBody>
                    <a:bodyPr/>
                    <a:lstStyle/>
                    <a:p>
                      <a:pPr algn="ctr"/>
                      <a:r>
                        <a:rPr lang="nb-NO" sz="1200"/>
                        <a:t>54,7</a:t>
                      </a:r>
                    </a:p>
                  </a:txBody>
                  <a:tcPr/>
                </a:tc>
                <a:extLst>
                  <a:ext uri="{0D108BD9-81ED-4DB2-BD59-A6C34878D82A}">
                    <a16:rowId xmlns:a16="http://schemas.microsoft.com/office/drawing/2014/main" val="3931694125"/>
                  </a:ext>
                </a:extLst>
              </a:tr>
              <a:tr h="312707">
                <a:tc>
                  <a:txBody>
                    <a:bodyPr/>
                    <a:lstStyle/>
                    <a:p>
                      <a:r>
                        <a:rPr lang="nb-NO" sz="1200"/>
                        <a:t>BA-område</a:t>
                      </a:r>
                    </a:p>
                  </a:txBody>
                  <a:tcPr/>
                </a:tc>
                <a:tc>
                  <a:txBody>
                    <a:bodyPr/>
                    <a:lstStyle/>
                    <a:p>
                      <a:pPr algn="ctr"/>
                      <a:r>
                        <a:rPr lang="nb-NO" sz="1200"/>
                        <a:t>BA42 Flekkefjord</a:t>
                      </a:r>
                    </a:p>
                  </a:txBody>
                  <a:tcPr/>
                </a:tc>
                <a:extLst>
                  <a:ext uri="{0D108BD9-81ED-4DB2-BD59-A6C34878D82A}">
                    <a16:rowId xmlns:a16="http://schemas.microsoft.com/office/drawing/2014/main" val="2448623123"/>
                  </a:ext>
                </a:extLst>
              </a:tr>
            </a:tbl>
          </a:graphicData>
        </a:graphic>
      </p:graphicFrame>
      <p:pic>
        <p:nvPicPr>
          <p:cNvPr id="7" name="Bilde 6" descr="Kart over kommune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02621" y="41886"/>
            <a:ext cx="2889380" cy="5773872"/>
          </a:xfrm>
          <a:prstGeom prst="rect">
            <a:avLst/>
          </a:prstGeom>
        </p:spPr>
      </p:pic>
    </p:spTree>
    <p:extLst>
      <p:ext uri="{BB962C8B-B14F-4D97-AF65-F5344CB8AC3E}">
        <p14:creationId xmlns:p14="http://schemas.microsoft.com/office/powerpoint/2010/main" val="138038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10153651" cy="685606"/>
          </a:xfrm>
        </p:spPr>
        <p:txBody>
          <a:bodyPr/>
          <a:lstStyle/>
          <a:p>
            <a:r>
              <a:rPr lang="nb-NO"/>
              <a:t>Klimagassutslipp – referansebaner</a:t>
            </a:r>
          </a:p>
        </p:txBody>
      </p:sp>
      <p:sp>
        <p:nvSpPr>
          <p:cNvPr id="3" name="Plassholder for innhold 2"/>
          <p:cNvSpPr>
            <a:spLocks noGrp="1"/>
          </p:cNvSpPr>
          <p:nvPr>
            <p:ph idx="1"/>
          </p:nvPr>
        </p:nvSpPr>
        <p:spPr>
          <a:xfrm>
            <a:off x="472273" y="1348079"/>
            <a:ext cx="3806924" cy="4498817"/>
          </a:xfrm>
        </p:spPr>
        <p:txBody>
          <a:bodyPr/>
          <a:lstStyle/>
          <a:p>
            <a:r>
              <a:rPr lang="nb-NO" sz="2000" dirty="0"/>
              <a:t>Regionplan Agder har mål om at årlige utslipp skal reduseres med  55 % i 2030 sammenlignet med 2017.</a:t>
            </a:r>
          </a:p>
          <a:p>
            <a:endParaRPr lang="nb-NO" sz="800" dirty="0"/>
          </a:p>
          <a:p>
            <a:r>
              <a:rPr lang="nb-NO" sz="2000" dirty="0"/>
              <a:t>Figuren viser referansebane for utslipp med utgangspunkt i vedtatt nasjonal politikk.</a:t>
            </a:r>
          </a:p>
          <a:p>
            <a:endParaRPr lang="nb-NO" sz="800" dirty="0"/>
          </a:p>
          <a:p>
            <a:r>
              <a:rPr lang="nb-NO" sz="2000" dirty="0"/>
              <a:t>Referansebanen ligger langt over </a:t>
            </a:r>
            <a:r>
              <a:rPr lang="nb-NO" sz="2000" dirty="0" err="1"/>
              <a:t>målbanen</a:t>
            </a:r>
            <a:r>
              <a:rPr lang="nb-NO" sz="2000" dirty="0"/>
              <a:t> som må følges for å redusere utslippene med 55 % i 2030 sammenlignet med utslipp i 2017.</a:t>
            </a:r>
          </a:p>
        </p:txBody>
      </p:sp>
      <p:sp>
        <p:nvSpPr>
          <p:cNvPr id="5" name="TekstSylinder 4"/>
          <p:cNvSpPr txBox="1"/>
          <p:nvPr/>
        </p:nvSpPr>
        <p:spPr>
          <a:xfrm>
            <a:off x="7378262" y="6357399"/>
            <a:ext cx="4653455" cy="307777"/>
          </a:xfrm>
          <a:prstGeom prst="rect">
            <a:avLst/>
          </a:prstGeom>
          <a:noFill/>
        </p:spPr>
        <p:txBody>
          <a:bodyPr wrap="square" rtlCol="0">
            <a:spAutoFit/>
          </a:bodyPr>
          <a:lstStyle/>
          <a:p>
            <a:pPr algn="l"/>
            <a:r>
              <a:rPr lang="nb-NO" sz="1400" dirty="0"/>
              <a:t>Tonn CO</a:t>
            </a:r>
            <a:r>
              <a:rPr lang="nb-NO" sz="1400" baseline="30000" dirty="0"/>
              <a:t>2</a:t>
            </a:r>
            <a:r>
              <a:rPr lang="nb-NO" sz="1400" dirty="0"/>
              <a:t>, inkl. kvotepliktige utslipp, referanseår 2017</a:t>
            </a:r>
          </a:p>
        </p:txBody>
      </p:sp>
      <p:sp>
        <p:nvSpPr>
          <p:cNvPr id="4" name="TekstSylinder 3">
            <a:extLst>
              <a:ext uri="{FF2B5EF4-FFF2-40B4-BE49-F238E27FC236}">
                <a16:creationId xmlns:a16="http://schemas.microsoft.com/office/drawing/2014/main" id="{623F5FD2-FA8D-DBAD-3E71-C1ACC8ED2307}"/>
              </a:ext>
            </a:extLst>
          </p:cNvPr>
          <p:cNvSpPr txBox="1"/>
          <p:nvPr/>
        </p:nvSpPr>
        <p:spPr>
          <a:xfrm>
            <a:off x="4279196" y="6295844"/>
            <a:ext cx="2887512" cy="369332"/>
          </a:xfrm>
          <a:prstGeom prst="rect">
            <a:avLst/>
          </a:prstGeom>
          <a:noFill/>
        </p:spPr>
        <p:txBody>
          <a:bodyPr wrap="square" rtlCol="0">
            <a:spAutoFit/>
          </a:bodyPr>
          <a:lstStyle/>
          <a:p>
            <a:pPr algn="l"/>
            <a:r>
              <a:rPr lang="nb-NO">
                <a:hlinkClick r:id="rId3"/>
              </a:rPr>
              <a:t>Rapport klimagassutslipp</a:t>
            </a:r>
            <a:endParaRPr lang="nb-NO"/>
          </a:p>
        </p:txBody>
      </p:sp>
      <p:graphicFrame>
        <p:nvGraphicFramePr>
          <p:cNvPr id="7" name="Diagram 6" descr="Linjediagram som viser historiske klimagassutslipp fra 2009. Nasjonal referansebane er benyttet til å beregne referansebane per sektor og kommune frem mot 2030. Inkl. kvotepliktige utslipp.">
            <a:extLst>
              <a:ext uri="{FF2B5EF4-FFF2-40B4-BE49-F238E27FC236}">
                <a16:creationId xmlns:a16="http://schemas.microsoft.com/office/drawing/2014/main" id="{D005A174-951D-5523-A50A-72D519C22056}"/>
              </a:ext>
            </a:extLst>
          </p:cNvPr>
          <p:cNvGraphicFramePr>
            <a:graphicFrameLocks/>
          </p:cNvGraphicFramePr>
          <p:nvPr>
            <p:extLst>
              <p:ext uri="{D42A27DB-BD31-4B8C-83A1-F6EECF244321}">
                <p14:modId xmlns:p14="http://schemas.microsoft.com/office/powerpoint/2010/main" val="119167498"/>
              </p:ext>
            </p:extLst>
          </p:nvPr>
        </p:nvGraphicFramePr>
        <p:xfrm>
          <a:off x="4898133" y="1506974"/>
          <a:ext cx="6821594" cy="409257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465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84224" y="337671"/>
            <a:ext cx="10153651" cy="685606"/>
          </a:xfrm>
        </p:spPr>
        <p:txBody>
          <a:bodyPr/>
          <a:lstStyle/>
          <a:p>
            <a:r>
              <a:rPr lang="nb-NO"/>
              <a:t>Elektrifiseringsgrad per sektor</a:t>
            </a:r>
          </a:p>
        </p:txBody>
      </p:sp>
      <p:sp>
        <p:nvSpPr>
          <p:cNvPr id="3" name="Plassholder for innhold 2"/>
          <p:cNvSpPr>
            <a:spLocks noGrp="1"/>
          </p:cNvSpPr>
          <p:nvPr>
            <p:ph idx="1"/>
          </p:nvPr>
        </p:nvSpPr>
        <p:spPr>
          <a:xfrm>
            <a:off x="384224" y="1293305"/>
            <a:ext cx="2964766" cy="3918775"/>
          </a:xfrm>
        </p:spPr>
        <p:txBody>
          <a:bodyPr/>
          <a:lstStyle/>
          <a:p>
            <a:r>
              <a:rPr lang="nb-NO" sz="1800"/>
              <a:t>Målbildet Electric Region Agder 2030</a:t>
            </a:r>
            <a:r>
              <a:rPr lang="nb-NO" sz="1800" b="1"/>
              <a:t> </a:t>
            </a:r>
            <a:r>
              <a:rPr lang="nb-NO" sz="1800"/>
              <a:t>handler om å utnytte ett av regionens globale fortrinn for å realisere en visjon om et Agder hvor alt er elektrisk, alt er fornybart.</a:t>
            </a:r>
          </a:p>
          <a:p>
            <a:endParaRPr lang="nb-NO" sz="1800"/>
          </a:p>
          <a:p>
            <a:r>
              <a:rPr lang="nb-NO" sz="1800"/>
              <a:t>Dette skjer gjennom å elektrifisere samfunnet ved å erstatte fossil energi med fornybar elektrisitet.</a:t>
            </a:r>
            <a:r>
              <a:rPr lang="nb-NO"/>
              <a:t> </a:t>
            </a:r>
            <a:endParaRPr lang="nb-NO" sz="1800"/>
          </a:p>
        </p:txBody>
      </p:sp>
      <p:sp>
        <p:nvSpPr>
          <p:cNvPr id="5" name="TekstSylinder 4">
            <a:extLst>
              <a:ext uri="{FF2B5EF4-FFF2-40B4-BE49-F238E27FC236}">
                <a16:creationId xmlns:a16="http://schemas.microsoft.com/office/drawing/2014/main" id="{EB0A9251-D27D-EDB6-2E21-792824CC31B3}"/>
              </a:ext>
            </a:extLst>
          </p:cNvPr>
          <p:cNvSpPr txBox="1"/>
          <p:nvPr/>
        </p:nvSpPr>
        <p:spPr>
          <a:xfrm>
            <a:off x="504365" y="5221335"/>
            <a:ext cx="2423432" cy="369332"/>
          </a:xfrm>
          <a:prstGeom prst="rect">
            <a:avLst/>
          </a:prstGeom>
          <a:noFill/>
        </p:spPr>
        <p:txBody>
          <a:bodyPr wrap="square" rtlCol="0">
            <a:spAutoFit/>
          </a:bodyPr>
          <a:lstStyle/>
          <a:p>
            <a:pPr algn="l"/>
            <a:r>
              <a:rPr lang="nb-NO">
                <a:hlinkClick r:id="rId3"/>
              </a:rPr>
              <a:t>Rapport elektrifisering</a:t>
            </a:r>
            <a:endParaRPr lang="nb-NO"/>
          </a:p>
        </p:txBody>
      </p:sp>
      <p:pic>
        <p:nvPicPr>
          <p:cNvPr id="7" name="Graphic 7">
            <a:extLst>
              <a:ext uri="{FF2B5EF4-FFF2-40B4-BE49-F238E27FC236}">
                <a16:creationId xmlns:a16="http://schemas.microsoft.com/office/drawing/2014/main" id="{E88FB574-9C5C-6D5D-27DB-EB3A93C82932}"/>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43452" y="1168670"/>
            <a:ext cx="372796" cy="372796"/>
          </a:xfrm>
          <a:prstGeom prst="rect">
            <a:avLst/>
          </a:prstGeom>
        </p:spPr>
      </p:pic>
      <p:pic>
        <p:nvPicPr>
          <p:cNvPr id="8" name="Graphic 8">
            <a:extLst>
              <a:ext uri="{FF2B5EF4-FFF2-40B4-BE49-F238E27FC236}">
                <a16:creationId xmlns:a16="http://schemas.microsoft.com/office/drawing/2014/main" id="{2B31ED66-DB86-9EE4-FFB7-0BAD64CB21E3}"/>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66509" y="1118627"/>
            <a:ext cx="372796" cy="372796"/>
          </a:xfrm>
          <a:prstGeom prst="rect">
            <a:avLst/>
          </a:prstGeom>
        </p:spPr>
      </p:pic>
      <p:pic>
        <p:nvPicPr>
          <p:cNvPr id="9" name="Content Placeholder 5">
            <a:extLst>
              <a:ext uri="{FF2B5EF4-FFF2-40B4-BE49-F238E27FC236}">
                <a16:creationId xmlns:a16="http://schemas.microsoft.com/office/drawing/2014/main" id="{55AE8C8D-9E3A-D80A-DD58-070538506059}"/>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99804" y="1117286"/>
            <a:ext cx="405419" cy="405419"/>
          </a:xfrm>
          <a:prstGeom prst="rect">
            <a:avLst/>
          </a:prstGeom>
        </p:spPr>
      </p:pic>
      <p:pic>
        <p:nvPicPr>
          <p:cNvPr id="10" name="Graphic 10">
            <a:extLst>
              <a:ext uri="{FF2B5EF4-FFF2-40B4-BE49-F238E27FC236}">
                <a16:creationId xmlns:a16="http://schemas.microsoft.com/office/drawing/2014/main" id="{18F445A5-70C2-1058-659F-0AAF121E2D7F}"/>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038805" y="1163498"/>
            <a:ext cx="372796" cy="372796"/>
          </a:xfrm>
          <a:prstGeom prst="rect">
            <a:avLst/>
          </a:prstGeom>
        </p:spPr>
      </p:pic>
      <p:pic>
        <p:nvPicPr>
          <p:cNvPr id="11" name="Graphic 12">
            <a:extLst>
              <a:ext uri="{FF2B5EF4-FFF2-40B4-BE49-F238E27FC236}">
                <a16:creationId xmlns:a16="http://schemas.microsoft.com/office/drawing/2014/main" id="{A70B7425-EDCF-5850-EB83-36F03A315FD3}"/>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728161" y="1136850"/>
            <a:ext cx="366290" cy="366290"/>
          </a:xfrm>
          <a:prstGeom prst="rect">
            <a:avLst/>
          </a:prstGeom>
        </p:spPr>
      </p:pic>
      <p:pic>
        <p:nvPicPr>
          <p:cNvPr id="12" name="Graphic 13">
            <a:extLst>
              <a:ext uri="{FF2B5EF4-FFF2-40B4-BE49-F238E27FC236}">
                <a16:creationId xmlns:a16="http://schemas.microsoft.com/office/drawing/2014/main" id="{97BB1E70-2BE2-ABB1-014F-C1B860AFBD6A}"/>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919239" y="1072151"/>
            <a:ext cx="423388" cy="423388"/>
          </a:xfrm>
          <a:prstGeom prst="rect">
            <a:avLst/>
          </a:prstGeom>
        </p:spPr>
      </p:pic>
      <p:graphicFrame>
        <p:nvGraphicFramePr>
          <p:cNvPr id="4" name="Chart 17" descr="Stolpediagram som viser elektrifiseringsgrad per sektor.">
            <a:extLst>
              <a:ext uri="{FF2B5EF4-FFF2-40B4-BE49-F238E27FC236}">
                <a16:creationId xmlns:a16="http://schemas.microsoft.com/office/drawing/2014/main" id="{22427995-5A5A-15A8-3F06-87414C285E30}"/>
              </a:ext>
            </a:extLst>
          </p:cNvPr>
          <p:cNvGraphicFramePr>
            <a:graphicFrameLocks/>
          </p:cNvGraphicFramePr>
          <p:nvPr>
            <p:extLst>
              <p:ext uri="{D42A27DB-BD31-4B8C-83A1-F6EECF244321}">
                <p14:modId xmlns:p14="http://schemas.microsoft.com/office/powerpoint/2010/main" val="3731907957"/>
              </p:ext>
            </p:extLst>
          </p:nvPr>
        </p:nvGraphicFramePr>
        <p:xfrm>
          <a:off x="3648548" y="1404192"/>
          <a:ext cx="8605508" cy="4212783"/>
        </p:xfrm>
        <a:graphic>
          <a:graphicData uri="http://schemas.openxmlformats.org/drawingml/2006/chart">
            <c:chart xmlns:c="http://schemas.openxmlformats.org/drawingml/2006/chart" xmlns:r="http://schemas.openxmlformats.org/officeDocument/2006/relationships" r:id="rId16"/>
          </a:graphicData>
        </a:graphic>
      </p:graphicFrame>
    </p:spTree>
    <p:extLst>
      <p:ext uri="{BB962C8B-B14F-4D97-AF65-F5344CB8AC3E}">
        <p14:creationId xmlns:p14="http://schemas.microsoft.com/office/powerpoint/2010/main" val="176357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4"/>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Grp="1" noChangeArrowheads="1"/>
          </p:cNvSpPr>
          <p:nvPr>
            <p:ph type="title" idx="4294967295"/>
            <p:custDataLst>
              <p:tags r:id="rId1"/>
            </p:custDataLst>
          </p:nvPr>
        </p:nvSpPr>
        <p:spPr bwMode="auto">
          <a:xfrm>
            <a:off x="2143232" y="1327700"/>
            <a:ext cx="7905536" cy="1169953"/>
          </a:xfrm>
          <a:prstGeom prst="rect">
            <a:avLst/>
          </a:prstGeom>
          <a:noFill/>
          <a:ln w="9525">
            <a:noFill/>
            <a:prstDash/>
            <a:miter lim="800000"/>
            <a:headEnd/>
            <a:tailEnd/>
          </a:ln>
          <a:effectLst/>
        </p:spPr>
        <p:txBody>
          <a:bodyPr rot="0" spcFirstLastPara="0" vertOverflow="overflow" horzOverflow="overflow" vert="horz" wrap="square" lIns="90011" tIns="108014" rIns="90011" bIns="46806" numCol="1" spcCol="0" rtlCol="0" fromWordArt="0" anchor="t" anchorCtr="0" forceAA="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marR="0" lvl="1" indent="0" algn="ctr" defTabSz="914400" rtl="0" eaLnBrk="1" fontAlgn="base" latinLnBrk="0" hangingPunct="1">
              <a:lnSpc>
                <a:spcPct val="100000"/>
              </a:lnSpc>
              <a:spcBef>
                <a:spcPct val="0"/>
              </a:spcBef>
              <a:spcAft>
                <a:spcPct val="30000"/>
              </a:spcAft>
              <a:buClr>
                <a:schemeClr val="accent1">
                  <a:lumMod val="100000"/>
                </a:schemeClr>
              </a:buClr>
              <a:buSzPct val="100000"/>
              <a:buFont typeface="Wingdings" pitchFamily="2" charset="2"/>
              <a:buNone/>
              <a:tabLst>
                <a:tab pos="266700" algn="l"/>
                <a:tab pos="631825" algn="l"/>
                <a:tab pos="981075" algn="l"/>
              </a:tabLst>
              <a:defRPr/>
            </a:pPr>
            <a:r>
              <a:rPr kumimoji="0" lang="nb-NO" sz="4800" b="0" i="0" u="none" strike="noStrike" kern="1200" cap="none" spc="0" normalizeH="0" baseline="0" noProof="0">
                <a:ln>
                  <a:noFill/>
                </a:ln>
                <a:solidFill>
                  <a:srgbClr val="EBDDA8"/>
                </a:solidFill>
                <a:effectLst/>
                <a:uLnTx/>
                <a:uFillTx/>
                <a:latin typeface="Arial Black" panose="020B0A04020102020204" pitchFamily="34" charset="0"/>
                <a:ea typeface="+mn-ea"/>
                <a:cs typeface="+mn-cs"/>
              </a:rPr>
              <a:t>Klimagassreduksjon i  </a:t>
            </a:r>
          </a:p>
        </p:txBody>
      </p:sp>
      <p:pic>
        <p:nvPicPr>
          <p:cNvPr id="14" name="Bilde 13" descr="Kommunenavn.">
            <a:extLst>
              <a:ext uri="{FF2B5EF4-FFF2-40B4-BE49-F238E27FC236}">
                <a16:creationId xmlns:a16="http://schemas.microsoft.com/office/drawing/2014/main" id="{EB22ED9D-9831-9FFF-3846-4AF08DB4D4FD}"/>
              </a:ext>
            </a:extLst>
          </p:cNvPr>
          <p:cNvPicPr/>
          <p:nvPr/>
        </p:nvPicPr>
        <p:blipFill>
          <a:blip r:embed="rId5"/>
          <a:stretch>
            <a:fillRect/>
          </a:stretch>
        </p:blipFill>
        <p:spPr>
          <a:xfrm>
            <a:off x="2052638" y="1984375"/>
            <a:ext cx="8086725" cy="933450"/>
          </a:xfrm>
          <a:prstGeom prst="rect">
            <a:avLst/>
          </a:prstGeom>
        </p:spPr>
      </p:pic>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a:solidFill>
                  <a:schemeClr val="bg1"/>
                </a:solidFill>
              </a:rPr>
              <a:t>Dagens</a:t>
            </a:r>
          </a:p>
          <a:p>
            <a:pPr algn="ctr"/>
            <a:r>
              <a:rPr lang="nb-NO">
                <a:solidFill>
                  <a:schemeClr val="bg1"/>
                </a:solidFill>
              </a:rPr>
              <a:t>Klimagassutslipp (tonn CO2-ekv)</a:t>
            </a:r>
          </a:p>
        </p:txBody>
      </p:sp>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a:solidFill>
                  <a:schemeClr val="bg1"/>
                </a:solidFill>
              </a:rPr>
              <a:t>Klimagassutslipp ved fullelektrifisering*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a:solidFill>
                  <a:schemeClr val="bg1"/>
                </a:solidFill>
              </a:rPr>
              <a:t>Redusert klimagassutslipp etter elektrifisering</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a:solidFill>
                  <a:schemeClr val="bg1"/>
                </a:solidFill>
              </a:rPr>
              <a:t>*</a:t>
            </a:r>
            <a:r>
              <a:rPr lang="en-US" sz="1100" err="1">
                <a:solidFill>
                  <a:schemeClr val="bg1"/>
                </a:solidFill>
              </a:rPr>
              <a:t>Elektrisifisering</a:t>
            </a:r>
            <a:r>
              <a:rPr lang="en-US" sz="1100">
                <a:solidFill>
                  <a:schemeClr val="bg1"/>
                </a:solidFill>
              </a:rPr>
              <a:t> av Transport </a:t>
            </a:r>
            <a:r>
              <a:rPr lang="en-US" sz="1100" err="1">
                <a:solidFill>
                  <a:schemeClr val="bg1"/>
                </a:solidFill>
              </a:rPr>
              <a:t>og</a:t>
            </a:r>
            <a:r>
              <a:rPr lang="en-US" sz="1100">
                <a:solidFill>
                  <a:schemeClr val="bg1"/>
                </a:solidFill>
              </a:rPr>
              <a:t> </a:t>
            </a:r>
            <a:r>
              <a:rPr lang="en-US" sz="1100" err="1">
                <a:solidFill>
                  <a:schemeClr val="bg1"/>
                </a:solidFill>
              </a:rPr>
              <a:t>annen</a:t>
            </a:r>
            <a:r>
              <a:rPr lang="en-US" sz="1100">
                <a:solidFill>
                  <a:schemeClr val="bg1"/>
                </a:solidFill>
              </a:rPr>
              <a:t> </a:t>
            </a:r>
            <a:r>
              <a:rPr lang="en-US" sz="1100" err="1">
                <a:solidFill>
                  <a:schemeClr val="bg1"/>
                </a:solidFill>
              </a:rPr>
              <a:t>mobil</a:t>
            </a:r>
            <a:r>
              <a:rPr lang="en-US" sz="1100">
                <a:solidFill>
                  <a:schemeClr val="bg1"/>
                </a:solidFill>
              </a:rPr>
              <a:t> </a:t>
            </a:r>
            <a:r>
              <a:rPr lang="en-US" sz="1100" err="1">
                <a:solidFill>
                  <a:schemeClr val="bg1"/>
                </a:solidFill>
              </a:rPr>
              <a:t>forbrenning</a:t>
            </a:r>
            <a:endParaRPr lang="en-US" sz="1100">
              <a:solidFill>
                <a:schemeClr val="bg1"/>
              </a:solidFill>
            </a:endParaRPr>
          </a:p>
        </p:txBody>
      </p:sp>
      <p:pic>
        <p:nvPicPr>
          <p:cNvPr id="2" name="Bilde 1" descr="Dagens klimagassutslipp (tonn CO2-ekv).">
            <a:extLst>
              <a:ext uri="{FF2B5EF4-FFF2-40B4-BE49-F238E27FC236}">
                <a16:creationId xmlns:a16="http://schemas.microsoft.com/office/drawing/2014/main" id="{9ED16172-C3D5-8141-DDBA-F023E7536CAB}"/>
              </a:ext>
            </a:extLst>
          </p:cNvPr>
          <p:cNvPicPr/>
          <p:nvPr/>
        </p:nvPicPr>
        <p:blipFill>
          <a:blip r:embed="rId6"/>
          <a:stretch>
            <a:fillRect/>
          </a:stretch>
        </p:blipFill>
        <p:spPr>
          <a:xfrm>
            <a:off x="-1377277" y="3217863"/>
            <a:ext cx="4229101" cy="784225"/>
          </a:xfrm>
          <a:prstGeom prst="rect">
            <a:avLst/>
          </a:prstGeom>
        </p:spPr>
      </p:pic>
      <p:pic>
        <p:nvPicPr>
          <p:cNvPr id="3" name="Bilde 2" descr="Redusert klimagassutslipp etter elektrifisering.">
            <a:extLst>
              <a:ext uri="{FF2B5EF4-FFF2-40B4-BE49-F238E27FC236}">
                <a16:creationId xmlns:a16="http://schemas.microsoft.com/office/drawing/2014/main" id="{9E448481-832A-35B7-1CDD-47F0120F02E0}"/>
              </a:ext>
            </a:extLst>
          </p:cNvPr>
          <p:cNvPicPr/>
          <p:nvPr/>
        </p:nvPicPr>
        <p:blipFill>
          <a:blip r:embed="rId7"/>
          <a:stretch>
            <a:fillRect/>
          </a:stretch>
        </p:blipFill>
        <p:spPr>
          <a:xfrm>
            <a:off x="6551771" y="3222625"/>
            <a:ext cx="8313738" cy="784225"/>
          </a:xfrm>
          <a:prstGeom prst="rect">
            <a:avLst/>
          </a:prstGeom>
        </p:spPr>
      </p:pic>
      <p:pic>
        <p:nvPicPr>
          <p:cNvPr id="4" name="Bilde 3" descr="Klimagassutslipp ved fullelektrifisering* (tonn CO2-ekv). *Elektrisifisering av Transport og annen mobil forbrenning.">
            <a:extLst>
              <a:ext uri="{FF2B5EF4-FFF2-40B4-BE49-F238E27FC236}">
                <a16:creationId xmlns:a16="http://schemas.microsoft.com/office/drawing/2014/main" id="{052C2109-C201-6D87-C7B9-CCF183200AAD}"/>
              </a:ext>
            </a:extLst>
          </p:cNvPr>
          <p:cNvPicPr/>
          <p:nvPr/>
        </p:nvPicPr>
        <p:blipFill>
          <a:blip r:embed="rId8"/>
          <a:stretch>
            <a:fillRect/>
          </a:stretch>
        </p:blipFill>
        <p:spPr>
          <a:xfrm>
            <a:off x="2667902" y="3222625"/>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0377" y="247517"/>
            <a:ext cx="5883940" cy="685606"/>
          </a:xfrm>
        </p:spPr>
        <p:txBody>
          <a:bodyPr/>
          <a:lstStyle/>
          <a:p>
            <a:r>
              <a:rPr lang="nb-NO"/>
              <a:t>Arealressurser</a:t>
            </a:r>
          </a:p>
        </p:txBody>
      </p:sp>
      <p:sp>
        <p:nvSpPr>
          <p:cNvPr id="16" name="TekstSylinder 15">
            <a:extLst>
              <a:ext uri="{FF2B5EF4-FFF2-40B4-BE49-F238E27FC236}">
                <a16:creationId xmlns:a16="http://schemas.microsoft.com/office/drawing/2014/main" id="{01B63842-A613-4DE2-23CF-65894B874DE1}"/>
              </a:ext>
            </a:extLst>
          </p:cNvPr>
          <p:cNvSpPr txBox="1"/>
          <p:nvPr/>
        </p:nvSpPr>
        <p:spPr>
          <a:xfrm>
            <a:off x="446522" y="1118702"/>
            <a:ext cx="5274340" cy="1200329"/>
          </a:xfrm>
          <a:prstGeom prst="rect">
            <a:avLst/>
          </a:prstGeom>
          <a:noFill/>
        </p:spPr>
        <p:txBody>
          <a:bodyPr wrap="square" rtlCol="0">
            <a:spAutoFit/>
          </a:bodyPr>
          <a:lstStyle/>
          <a:p>
            <a:pPr algn="l"/>
            <a:r>
              <a:rPr lang="nb-NO" b="0" i="0">
                <a:solidFill>
                  <a:srgbClr val="000000"/>
                </a:solidFill>
                <a:effectLst/>
                <a:latin typeface="Arial" panose="020B0604020202020204" pitchFamily="34" charset="0"/>
              </a:rPr>
              <a:t>Per 2022 er 5</a:t>
            </a:r>
            <a:r>
              <a:rPr lang="nb-NO">
                <a:solidFill>
                  <a:srgbClr val="000000"/>
                </a:solidFill>
                <a:latin typeface="Arial" panose="020B0604020202020204" pitchFamily="34" charset="0"/>
              </a:rPr>
              <a:t>0 </a:t>
            </a:r>
            <a:r>
              <a:rPr lang="nb-NO" b="0" i="0">
                <a:solidFill>
                  <a:srgbClr val="000000"/>
                </a:solidFill>
                <a:effectLst/>
                <a:latin typeface="Arial" panose="020B0604020202020204" pitchFamily="34" charset="0"/>
              </a:rPr>
              <a:t>% av Flekkefjord kommune sitt areal dekket av skog, 26 % hav, 9 % ferskvann</a:t>
            </a:r>
            <a:r>
              <a:rPr lang="nb-NO">
                <a:solidFill>
                  <a:srgbClr val="000000"/>
                </a:solidFill>
                <a:latin typeface="Arial" panose="020B0604020202020204" pitchFamily="34" charset="0"/>
              </a:rPr>
              <a:t>,   3 % myr</a:t>
            </a:r>
            <a:r>
              <a:rPr lang="nb-NO" b="0" i="0">
                <a:solidFill>
                  <a:srgbClr val="000000"/>
                </a:solidFill>
                <a:effectLst/>
                <a:latin typeface="Arial" panose="020B0604020202020204" pitchFamily="34" charset="0"/>
              </a:rPr>
              <a:t>, mens fulldyrka jord utgjør 1,2 %. Bebygd areal og samferdsel utgjør til sammen 1,6 %. </a:t>
            </a:r>
            <a:endParaRPr lang="nb-NO"/>
          </a:p>
        </p:txBody>
      </p:sp>
      <p:pic>
        <p:nvPicPr>
          <p:cNvPr id="5" name="Bilde 4" descr="Stolpediagram som viser antall dekar per arealtype i kommunen.">
            <a:extLst>
              <a:ext uri="{FF2B5EF4-FFF2-40B4-BE49-F238E27FC236}">
                <a16:creationId xmlns:a16="http://schemas.microsoft.com/office/drawing/2014/main" id="{94CA5AA8-391E-5594-FC27-A8503A8CBBCD}"/>
              </a:ext>
            </a:extLst>
          </p:cNvPr>
          <p:cNvPicPr>
            <a:picLocks noChangeAspect="1"/>
          </p:cNvPicPr>
          <p:nvPr/>
        </p:nvPicPr>
        <p:blipFill>
          <a:blip r:embed="rId3"/>
          <a:stretch>
            <a:fillRect/>
          </a:stretch>
        </p:blipFill>
        <p:spPr>
          <a:xfrm>
            <a:off x="446522" y="2752165"/>
            <a:ext cx="5076825" cy="3057525"/>
          </a:xfrm>
          <a:prstGeom prst="rect">
            <a:avLst/>
          </a:prstGeom>
        </p:spPr>
      </p:pic>
      <p:sp>
        <p:nvSpPr>
          <p:cNvPr id="7" name="Plassholder for innhold 2"/>
          <p:cNvSpPr txBox="1">
            <a:spLocks/>
          </p:cNvSpPr>
          <p:nvPr/>
        </p:nvSpPr>
        <p:spPr>
          <a:xfrm>
            <a:off x="6072554" y="1178336"/>
            <a:ext cx="5672924" cy="1140695"/>
          </a:xfrm>
          <a:prstGeom prst="rect">
            <a:avLst/>
          </a:prstGeom>
          <a:solidFill>
            <a:schemeClr val="bg1">
              <a:alpha val="28000"/>
            </a:schemeClr>
          </a:solidFill>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800"/>
              <a:t>Ca. 7 % av arealet i Flekkefjord er vernet etter naturmangfoldloven. </a:t>
            </a:r>
          </a:p>
          <a:p>
            <a:pPr marL="0" indent="0">
              <a:buNone/>
            </a:pPr>
            <a:r>
              <a:rPr lang="nb-NO" sz="1800"/>
              <a:t>Samlet for Agder er 16,3 % av arealet vernet. </a:t>
            </a:r>
          </a:p>
        </p:txBody>
      </p:sp>
      <p:graphicFrame>
        <p:nvGraphicFramePr>
          <p:cNvPr id="12" name="Chart 1" descr="Kombinert stolpe og linjediagram som viser vernet areal for hver kommune i Agder. Stolpe viser km2 og linje viser % av areal som er vernet.">
            <a:extLst>
              <a:ext uri="{FF2B5EF4-FFF2-40B4-BE49-F238E27FC236}">
                <a16:creationId xmlns:a16="http://schemas.microsoft.com/office/drawing/2014/main" id="{02F3DED4-52B2-ED4A-F002-268A294A1591}"/>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2335023442"/>
              </p:ext>
            </p:extLst>
          </p:nvPr>
        </p:nvGraphicFramePr>
        <p:xfrm>
          <a:off x="5978284" y="2752165"/>
          <a:ext cx="6040247" cy="305752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440108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435C770-84CE-FE99-7F0F-1CBC0D10658C}"/>
              </a:ext>
            </a:extLst>
          </p:cNvPr>
          <p:cNvSpPr>
            <a:spLocks noGrp="1"/>
          </p:cNvSpPr>
          <p:nvPr>
            <p:ph type="title"/>
          </p:nvPr>
        </p:nvSpPr>
        <p:spPr>
          <a:xfrm>
            <a:off x="419303" y="267705"/>
            <a:ext cx="4699774" cy="685606"/>
          </a:xfrm>
        </p:spPr>
        <p:txBody>
          <a:bodyPr/>
          <a:lstStyle/>
          <a:p>
            <a:r>
              <a:rPr lang="nb-NO"/>
              <a:t>Planlagt arealbruk</a:t>
            </a:r>
          </a:p>
        </p:txBody>
      </p:sp>
      <p:sp>
        <p:nvSpPr>
          <p:cNvPr id="4" name="Plassholder for innhold 3">
            <a:extLst>
              <a:ext uri="{FF2B5EF4-FFF2-40B4-BE49-F238E27FC236}">
                <a16:creationId xmlns:a16="http://schemas.microsoft.com/office/drawing/2014/main" id="{5E03F8CB-2FC6-6289-5575-EDBBBBB03428}"/>
              </a:ext>
            </a:extLst>
          </p:cNvPr>
          <p:cNvSpPr>
            <a:spLocks noGrp="1"/>
          </p:cNvSpPr>
          <p:nvPr>
            <p:ph sz="half" idx="1"/>
          </p:nvPr>
        </p:nvSpPr>
        <p:spPr>
          <a:xfrm>
            <a:off x="419301" y="1073029"/>
            <a:ext cx="4699775" cy="4621899"/>
          </a:xfrm>
        </p:spPr>
        <p:txBody>
          <a:bodyPr/>
          <a:lstStyle/>
          <a:p>
            <a:r>
              <a:rPr lang="nn-NO" sz="2000"/>
              <a:t>Regionalt </a:t>
            </a:r>
            <a:r>
              <a:rPr lang="nn-NO" sz="2000">
                <a:hlinkClick r:id="rId3"/>
              </a:rPr>
              <a:t>arealregnskap</a:t>
            </a:r>
            <a:r>
              <a:rPr lang="nn-NO" sz="2000"/>
              <a:t> er utarbeida ved å </a:t>
            </a:r>
            <a:r>
              <a:rPr lang="nn-NO" sz="2000" err="1"/>
              <a:t>sammenstille</a:t>
            </a:r>
            <a:r>
              <a:rPr lang="nn-NO" sz="2000"/>
              <a:t> kommuneplanen sin arealdel, digitale </a:t>
            </a:r>
            <a:r>
              <a:rPr lang="nn-NO" sz="2000" err="1"/>
              <a:t>reguleringsplaner</a:t>
            </a:r>
            <a:r>
              <a:rPr lang="nn-NO" sz="2000"/>
              <a:t>, arealressursdata (AR5 og AR50) og SSB sitt datasett for arealbruk. </a:t>
            </a:r>
          </a:p>
          <a:p>
            <a:r>
              <a:rPr lang="nn-NO" sz="2000"/>
              <a:t>Samla er det satt av byggeområde i natur tilsvarande 0,5 dekar per </a:t>
            </a:r>
            <a:r>
              <a:rPr lang="nn-NO" sz="2000" err="1"/>
              <a:t>innbygger</a:t>
            </a:r>
            <a:r>
              <a:rPr lang="nn-NO" sz="2000"/>
              <a:t>.</a:t>
            </a:r>
          </a:p>
          <a:p>
            <a:r>
              <a:rPr lang="nn-NO" sz="2000" err="1"/>
              <a:t>Gjeldende</a:t>
            </a:r>
            <a:r>
              <a:rPr lang="nn-NO" sz="2000"/>
              <a:t> planer </a:t>
            </a:r>
            <a:r>
              <a:rPr lang="nn-NO" sz="2000" err="1"/>
              <a:t>åpner</a:t>
            </a:r>
            <a:r>
              <a:rPr lang="nn-NO" sz="2000"/>
              <a:t> for utbygging av </a:t>
            </a:r>
            <a:r>
              <a:rPr lang="nn-NO" sz="2000" err="1"/>
              <a:t>mer</a:t>
            </a:r>
            <a:r>
              <a:rPr lang="nn-NO" sz="2000"/>
              <a:t> enn 3 000 dekar skog og nesten 400 dekar dyrka mark.</a:t>
            </a:r>
          </a:p>
          <a:p>
            <a:endParaRPr lang="nb-NO"/>
          </a:p>
        </p:txBody>
      </p:sp>
      <p:pic>
        <p:nvPicPr>
          <p:cNvPr id="6" name="Bilde 5" descr="Bilde som viser tall i dekar for byggeområder i planer totalt. Hva som er tatt i bruk og antatt planreserve.">
            <a:extLst>
              <a:ext uri="{FF2B5EF4-FFF2-40B4-BE49-F238E27FC236}">
                <a16:creationId xmlns:a16="http://schemas.microsoft.com/office/drawing/2014/main" id="{6236BE43-1BE6-A3D6-387C-5631889937B8}"/>
              </a:ext>
            </a:extLst>
          </p:cNvPr>
          <p:cNvPicPr>
            <a:picLocks noChangeAspect="1"/>
          </p:cNvPicPr>
          <p:nvPr/>
        </p:nvPicPr>
        <p:blipFill>
          <a:blip r:embed="rId4"/>
          <a:stretch>
            <a:fillRect/>
          </a:stretch>
        </p:blipFill>
        <p:spPr>
          <a:xfrm>
            <a:off x="5496128" y="665212"/>
            <a:ext cx="6585548" cy="5211955"/>
          </a:xfrm>
          <a:prstGeom prst="rect">
            <a:avLst/>
          </a:prstGeom>
        </p:spPr>
      </p:pic>
      <p:sp>
        <p:nvSpPr>
          <p:cNvPr id="3" name="TekstSylinder 2">
            <a:extLst>
              <a:ext uri="{FF2B5EF4-FFF2-40B4-BE49-F238E27FC236}">
                <a16:creationId xmlns:a16="http://schemas.microsoft.com/office/drawing/2014/main" id="{DCD36BE4-2642-0790-85B5-10EDD5C92D5D}"/>
              </a:ext>
            </a:extLst>
          </p:cNvPr>
          <p:cNvSpPr txBox="1"/>
          <p:nvPr/>
        </p:nvSpPr>
        <p:spPr>
          <a:xfrm>
            <a:off x="10572952" y="6163435"/>
            <a:ext cx="14311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400" b="0" i="0" u="none" strike="noStrike" kern="1200" cap="none" spc="0" normalizeH="0" baseline="0" noProof="0">
                <a:ln>
                  <a:noFill/>
                </a:ln>
                <a:solidFill>
                  <a:srgbClr val="000000"/>
                </a:solidFill>
                <a:effectLst/>
                <a:uLnTx/>
                <a:uFillTx/>
                <a:latin typeface="Arial" panose="020B0604020202020204"/>
                <a:ea typeface="+mn-ea"/>
                <a:cs typeface="+mn-cs"/>
              </a:rPr>
              <a:t>Alle tall i dekar</a:t>
            </a:r>
          </a:p>
        </p:txBody>
      </p:sp>
    </p:spTree>
    <p:extLst>
      <p:ext uri="{BB962C8B-B14F-4D97-AF65-F5344CB8AC3E}">
        <p14:creationId xmlns:p14="http://schemas.microsoft.com/office/powerpoint/2010/main" val="2611775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56705" y="318522"/>
            <a:ext cx="10153651" cy="685606"/>
          </a:xfrm>
        </p:spPr>
        <p:txBody>
          <a:bodyPr/>
          <a:lstStyle/>
          <a:p>
            <a:r>
              <a:rPr lang="nb-NO"/>
              <a:t>Fritidsbebyggelse og eiere</a:t>
            </a:r>
          </a:p>
        </p:txBody>
      </p:sp>
      <p:sp>
        <p:nvSpPr>
          <p:cNvPr id="10" name="Plassholder for innhold 2"/>
          <p:cNvSpPr txBox="1">
            <a:spLocks/>
          </p:cNvSpPr>
          <p:nvPr/>
        </p:nvSpPr>
        <p:spPr>
          <a:xfrm>
            <a:off x="656704" y="1221114"/>
            <a:ext cx="4498955" cy="331846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a:t>Det er ca. 1600 bruksenheter til fritid i Flekkefjord, og ca. 2550 eiere (alle eierandeler inkludert).</a:t>
            </a:r>
          </a:p>
          <a:p>
            <a:endParaRPr lang="nb-NO" sz="2000"/>
          </a:p>
          <a:p>
            <a:r>
              <a:rPr lang="nb-NO" sz="2000"/>
              <a:t>Flekkefjord er største «hytteeierkommune».</a:t>
            </a:r>
          </a:p>
          <a:p>
            <a:endParaRPr lang="nb-NO" sz="2000"/>
          </a:p>
          <a:p>
            <a:r>
              <a:rPr lang="nb-NO" sz="2000"/>
              <a:t>Figur gir en oversikt på antall hytteeiere fordelt på kommuner.</a:t>
            </a:r>
          </a:p>
        </p:txBody>
      </p:sp>
      <p:pic>
        <p:nvPicPr>
          <p:cNvPr id="7" name="Bilde 6" descr="Bilde gir en oversikt på antall hytteeiere fordelt på kommuner. ">
            <a:extLst>
              <a:ext uri="{FF2B5EF4-FFF2-40B4-BE49-F238E27FC236}">
                <a16:creationId xmlns:a16="http://schemas.microsoft.com/office/drawing/2014/main" id="{D4B57540-F80C-A695-5212-E43CBD00800E}"/>
              </a:ext>
            </a:extLst>
          </p:cNvPr>
          <p:cNvPicPr>
            <a:picLocks noChangeAspect="1"/>
          </p:cNvPicPr>
          <p:nvPr/>
        </p:nvPicPr>
        <p:blipFill>
          <a:blip r:embed="rId3"/>
          <a:stretch>
            <a:fillRect/>
          </a:stretch>
        </p:blipFill>
        <p:spPr>
          <a:xfrm>
            <a:off x="5382225" y="1047902"/>
            <a:ext cx="5534025" cy="4362450"/>
          </a:xfrm>
          <a:prstGeom prst="rect">
            <a:avLst/>
          </a:prstGeom>
        </p:spPr>
      </p:pic>
      <p:sp>
        <p:nvSpPr>
          <p:cNvPr id="11" name="TekstSylinder 10"/>
          <p:cNvSpPr txBox="1"/>
          <p:nvPr/>
        </p:nvSpPr>
        <p:spPr>
          <a:xfrm>
            <a:off x="10311897" y="6357399"/>
            <a:ext cx="1719820" cy="307777"/>
          </a:xfrm>
          <a:prstGeom prst="rect">
            <a:avLst/>
          </a:prstGeom>
          <a:noFill/>
        </p:spPr>
        <p:txBody>
          <a:bodyPr wrap="square" rtlCol="0">
            <a:spAutoFit/>
          </a:bodyPr>
          <a:lstStyle/>
          <a:p>
            <a:pPr algn="l"/>
            <a:r>
              <a:rPr lang="nb-NO" sz="1400"/>
              <a:t>Kilde: Matrikkelen</a:t>
            </a:r>
          </a:p>
        </p:txBody>
      </p:sp>
    </p:spTree>
    <p:extLst>
      <p:ext uri="{BB962C8B-B14F-4D97-AF65-F5344CB8AC3E}">
        <p14:creationId xmlns:p14="http://schemas.microsoft.com/office/powerpoint/2010/main" val="215452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Befolkning og demografi</a:t>
            </a:r>
          </a:p>
        </p:txBody>
      </p:sp>
      <p:sp>
        <p:nvSpPr>
          <p:cNvPr id="4" name="TekstSylinder 3"/>
          <p:cNvSpPr txBox="1"/>
          <p:nvPr/>
        </p:nvSpPr>
        <p:spPr>
          <a:xfrm>
            <a:off x="517355" y="5086133"/>
            <a:ext cx="4638305" cy="830997"/>
          </a:xfrm>
          <a:prstGeom prst="rect">
            <a:avLst/>
          </a:prstGeom>
          <a:noFill/>
        </p:spPr>
        <p:txBody>
          <a:bodyPr wrap="square" rtlCol="0">
            <a:spAutoFit/>
          </a:bodyPr>
          <a:lstStyle/>
          <a:p>
            <a:pPr algn="l"/>
            <a:r>
              <a:rPr lang="nb-NO" sz="1600"/>
              <a:t>SSB spår befolkningsnedgang i Flekkefjord som følge av negativt fødselsoverskudd og negativ netto innenlands flytting.</a:t>
            </a:r>
          </a:p>
        </p:txBody>
      </p:sp>
      <p:sp>
        <p:nvSpPr>
          <p:cNvPr id="8" name="TekstSylinder 7"/>
          <p:cNvSpPr txBox="1"/>
          <p:nvPr/>
        </p:nvSpPr>
        <p:spPr>
          <a:xfrm>
            <a:off x="5894023" y="4977917"/>
            <a:ext cx="6080725" cy="830997"/>
          </a:xfrm>
          <a:prstGeom prst="rect">
            <a:avLst/>
          </a:prstGeom>
          <a:noFill/>
        </p:spPr>
        <p:txBody>
          <a:bodyPr wrap="square" rtlCol="0">
            <a:spAutoFit/>
          </a:bodyPr>
          <a:lstStyle/>
          <a:p>
            <a:pPr algn="l"/>
            <a:r>
              <a:rPr lang="nb-NO" sz="1600" dirty="0"/>
              <a:t>Dersom </a:t>
            </a:r>
            <a:r>
              <a:rPr lang="nb-NO" sz="1600" dirty="0" err="1"/>
              <a:t>SSB’s</a:t>
            </a:r>
            <a:r>
              <a:rPr lang="nb-NO" sz="1600" dirty="0"/>
              <a:t> framskriving slår til, vil aldersbæreevnen synke fra dagens 2,9 til 2,2 i 2040. Aldringen er sterkere i Flekkefjord enn snittet for Agder. </a:t>
            </a:r>
          </a:p>
        </p:txBody>
      </p:sp>
      <p:sp>
        <p:nvSpPr>
          <p:cNvPr id="3" name="TekstSylinder 2">
            <a:extLst>
              <a:ext uri="{FF2B5EF4-FFF2-40B4-BE49-F238E27FC236}">
                <a16:creationId xmlns:a16="http://schemas.microsoft.com/office/drawing/2014/main" id="{068D2664-0B7A-2A5F-F508-CEB0A08FAA22}"/>
              </a:ext>
            </a:extLst>
          </p:cNvPr>
          <p:cNvSpPr txBox="1"/>
          <p:nvPr/>
        </p:nvSpPr>
        <p:spPr>
          <a:xfrm>
            <a:off x="8972197" y="6274494"/>
            <a:ext cx="3170157" cy="369332"/>
          </a:xfrm>
          <a:prstGeom prst="rect">
            <a:avLst/>
          </a:prstGeom>
          <a:noFill/>
        </p:spPr>
        <p:txBody>
          <a:bodyPr wrap="square" rtlCol="0">
            <a:spAutoFit/>
          </a:bodyPr>
          <a:lstStyle/>
          <a:p>
            <a:pPr algn="l"/>
            <a:r>
              <a:rPr lang="nb-NO">
                <a:hlinkClick r:id="rId3"/>
              </a:rPr>
              <a:t>Rapport befolkningsutvikling</a:t>
            </a:r>
            <a:endParaRPr lang="nb-NO"/>
          </a:p>
        </p:txBody>
      </p:sp>
      <p:pic>
        <p:nvPicPr>
          <p:cNvPr id="6" name="Bilde 5" descr="Befolkningsutvikling fra 2015 og befolkningsprognose frem til 2030. Utvikling og prognose er også fordelt på fødselsoverskudd, netto innenlands flytting og netto innvandring.">
            <a:extLst>
              <a:ext uri="{FF2B5EF4-FFF2-40B4-BE49-F238E27FC236}">
                <a16:creationId xmlns:a16="http://schemas.microsoft.com/office/drawing/2014/main" id="{305BC23D-9D7C-A93A-D3C9-3E7CDE55AE74}"/>
              </a:ext>
            </a:extLst>
          </p:cNvPr>
          <p:cNvPicPr>
            <a:picLocks noChangeAspect="1"/>
          </p:cNvPicPr>
          <p:nvPr/>
        </p:nvPicPr>
        <p:blipFill>
          <a:blip r:embed="rId4"/>
          <a:stretch>
            <a:fillRect/>
          </a:stretch>
        </p:blipFill>
        <p:spPr>
          <a:xfrm>
            <a:off x="389109" y="1440334"/>
            <a:ext cx="4772025" cy="3369791"/>
          </a:xfrm>
          <a:prstGeom prst="rect">
            <a:avLst/>
          </a:prstGeom>
        </p:spPr>
      </p:pic>
      <p:pic>
        <p:nvPicPr>
          <p:cNvPr id="11" name="Bilde 10" descr="Befolkningspyramide som viser andel av befolkningen som er i aldersgruppe 0-19, 20-66 og 67+. Fordeling i 2024 og framskrivning til 2040. Egen figur med aldersbæreevne i 2024, 2040 og 2050.">
            <a:extLst>
              <a:ext uri="{FF2B5EF4-FFF2-40B4-BE49-F238E27FC236}">
                <a16:creationId xmlns:a16="http://schemas.microsoft.com/office/drawing/2014/main" id="{6959AA73-96B8-D87B-25CA-800BD17C5405}"/>
              </a:ext>
            </a:extLst>
          </p:cNvPr>
          <p:cNvPicPr>
            <a:picLocks noChangeAspect="1"/>
          </p:cNvPicPr>
          <p:nvPr/>
        </p:nvPicPr>
        <p:blipFill>
          <a:blip r:embed="rId5"/>
          <a:stretch>
            <a:fillRect/>
          </a:stretch>
        </p:blipFill>
        <p:spPr>
          <a:xfrm>
            <a:off x="5913084" y="1440334"/>
            <a:ext cx="6103473" cy="3265016"/>
          </a:xfrm>
          <a:prstGeom prst="rect">
            <a:avLst/>
          </a:prstGeom>
        </p:spPr>
      </p:pic>
    </p:spTree>
    <p:extLst>
      <p:ext uri="{BB962C8B-B14F-4D97-AF65-F5344CB8AC3E}">
        <p14:creationId xmlns:p14="http://schemas.microsoft.com/office/powerpoint/2010/main" val="34062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96763" y="403820"/>
            <a:ext cx="5110217" cy="685606"/>
          </a:xfrm>
        </p:spPr>
        <p:txBody>
          <a:bodyPr/>
          <a:lstStyle/>
          <a:p>
            <a:pPr algn="ctr"/>
            <a:r>
              <a:rPr lang="nb-NO"/>
              <a:t>Befolkningsutvikling og distrikt</a:t>
            </a:r>
          </a:p>
        </p:txBody>
      </p:sp>
      <p:sp>
        <p:nvSpPr>
          <p:cNvPr id="5" name="TekstSylinder 4"/>
          <p:cNvSpPr txBox="1"/>
          <p:nvPr/>
        </p:nvSpPr>
        <p:spPr>
          <a:xfrm>
            <a:off x="496763" y="1476245"/>
            <a:ext cx="5873892" cy="4524315"/>
          </a:xfrm>
          <a:prstGeom prst="rect">
            <a:avLst/>
          </a:prstGeom>
          <a:noFill/>
        </p:spPr>
        <p:txBody>
          <a:bodyPr wrap="square" rtlCol="0">
            <a:spAutoFit/>
          </a:bodyPr>
          <a:lstStyle/>
          <a:p>
            <a:pPr algn="l"/>
            <a:r>
              <a:rPr lang="nb-NO"/>
              <a:t>Fra 2018 til 2023 økte folketallet i Flekkefjord med 150 personer (1,7 %). Dette skyldes utelukkende høy </a:t>
            </a:r>
            <a:r>
              <a:rPr lang="nb-NO" err="1"/>
              <a:t>flyktningtilstrømming</a:t>
            </a:r>
            <a:r>
              <a:rPr lang="nb-NO"/>
              <a:t> i 2022. </a:t>
            </a:r>
          </a:p>
          <a:p>
            <a:pPr algn="l"/>
            <a:endParaRPr lang="nb-NO"/>
          </a:p>
          <a:p>
            <a:r>
              <a:rPr lang="nb-NO"/>
              <a:t>I perioden for øvrig har veksten vært negativ eller svak. Nedgangen har i all hovedsak vært i mindre sentrale områder i kommunen, mens de sentrumsnære grunnkretsene har hatt en nokså god vekst. </a:t>
            </a:r>
          </a:p>
          <a:p>
            <a:endParaRPr lang="nb-NO"/>
          </a:p>
          <a:p>
            <a:r>
              <a:rPr lang="nb-NO"/>
              <a:t>Innvandring til byene, aldring, og søken etter nærhet til service/tjenester​ og arbeidsmarked​ gjør at mange kommuner kan oppleve vekst i kommunesenter og tettsteder uavhengig av befolkningsutviklingen i kommunen samlet sett. </a:t>
            </a:r>
          </a:p>
          <a:p>
            <a:endParaRPr lang="nb-NO"/>
          </a:p>
          <a:p>
            <a:endParaRPr lang="nb-NO"/>
          </a:p>
        </p:txBody>
      </p:sp>
      <p:pic>
        <p:nvPicPr>
          <p:cNvPr id="3" name="Bilde 2" descr="Et bilde som inneholder tekst og kart. SSB's rutenettstatistikk som viser befolkningsutvikling i kommunen."/>
          <p:cNvPicPr>
            <a:picLocks noChangeAspect="1"/>
          </p:cNvPicPr>
          <p:nvPr/>
        </p:nvPicPr>
        <p:blipFill>
          <a:blip r:embed="rId3">
            <a:extLst>
              <a:ext uri="{28A0092B-C50C-407E-A947-70E740481C1C}">
                <a14:useLocalDpi xmlns:a14="http://schemas.microsoft.com/office/drawing/2010/main" val="0"/>
              </a:ext>
            </a:extLst>
          </a:blip>
          <a:srcRect/>
          <a:stretch/>
        </p:blipFill>
        <p:spPr>
          <a:xfrm>
            <a:off x="6370655" y="191858"/>
            <a:ext cx="5610225" cy="5610225"/>
          </a:xfrm>
          <a:prstGeom prst="rect">
            <a:avLst/>
          </a:prstGeom>
        </p:spPr>
      </p:pic>
      <p:sp>
        <p:nvSpPr>
          <p:cNvPr id="6" name="TekstSylinder 5"/>
          <p:cNvSpPr txBox="1"/>
          <p:nvPr/>
        </p:nvSpPr>
        <p:spPr>
          <a:xfrm>
            <a:off x="4511040" y="6235255"/>
            <a:ext cx="7114903" cy="430887"/>
          </a:xfrm>
          <a:prstGeom prst="rect">
            <a:avLst/>
          </a:prstGeom>
          <a:noFill/>
        </p:spPr>
        <p:txBody>
          <a:bodyPr wrap="square" rtlCol="0">
            <a:spAutoFit/>
          </a:bodyPr>
          <a:lstStyle/>
          <a:p>
            <a:r>
              <a:rPr lang="nb-NO" sz="1100"/>
              <a:t>Kart over befolkningsutvikling i kommuner og grunnkretser: </a:t>
            </a:r>
            <a:r>
              <a:rPr lang="nb-NO" sz="1100">
                <a:hlinkClick r:id="rId4"/>
              </a:rPr>
              <a:t>https://agderfk.maps.arcgis.com/apps/instant/media/index.html?appid=df4d1214bd3941d19d7a0b68de9145b1</a:t>
            </a:r>
            <a:r>
              <a:rPr lang="nb-NO" sz="1100"/>
              <a:t> </a:t>
            </a:r>
          </a:p>
        </p:txBody>
      </p:sp>
    </p:spTree>
    <p:extLst>
      <p:ext uri="{BB962C8B-B14F-4D97-AF65-F5344CB8AC3E}">
        <p14:creationId xmlns:p14="http://schemas.microsoft.com/office/powerpoint/2010/main" val="204484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707280" y="295468"/>
            <a:ext cx="4960703" cy="685606"/>
          </a:xfrm>
        </p:spPr>
        <p:txBody>
          <a:bodyPr/>
          <a:lstStyle/>
          <a:p>
            <a:r>
              <a:rPr lang="nb-NO"/>
              <a:t>Boligbygging 	</a:t>
            </a:r>
          </a:p>
        </p:txBody>
      </p:sp>
      <p:sp>
        <p:nvSpPr>
          <p:cNvPr id="7" name="Plassholder for innhold 2"/>
          <p:cNvSpPr txBox="1">
            <a:spLocks/>
          </p:cNvSpPr>
          <p:nvPr/>
        </p:nvSpPr>
        <p:spPr>
          <a:xfrm>
            <a:off x="469698" y="1229879"/>
            <a:ext cx="5362259" cy="1013736"/>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a:t>I perioden 2018-2023 ble det i gjennomsnitt igangsatt 34 boliger i året, hvorav ca. 43 % var eneboliger.</a:t>
            </a:r>
          </a:p>
        </p:txBody>
      </p:sp>
      <p:sp>
        <p:nvSpPr>
          <p:cNvPr id="6" name="Tittel 1">
            <a:extLst>
              <a:ext uri="{FF2B5EF4-FFF2-40B4-BE49-F238E27FC236}">
                <a16:creationId xmlns:a16="http://schemas.microsoft.com/office/drawing/2014/main" id="{CE5207F9-4FA9-E328-167B-6EB1EF6311FA}"/>
              </a:ext>
            </a:extLst>
          </p:cNvPr>
          <p:cNvSpPr txBox="1">
            <a:spLocks/>
          </p:cNvSpPr>
          <p:nvPr/>
        </p:nvSpPr>
        <p:spPr>
          <a:xfrm>
            <a:off x="6524019" y="295864"/>
            <a:ext cx="4960703" cy="685606"/>
          </a:xfrm>
          <a:prstGeom prst="rect">
            <a:avLst/>
          </a:prstGeom>
        </p:spPr>
        <p:txBody>
          <a:bodyPr vert="horz" lIns="0" tIns="0" rIns="0" bIns="0" rtlCol="0" anchor="ctr" anchorCtr="0">
            <a:noAutofit/>
          </a:bodyPr>
          <a:lst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a:lstStyle>
          <a:p>
            <a:r>
              <a:rPr lang="nb-NO"/>
              <a:t>Boligmasse	</a:t>
            </a:r>
          </a:p>
        </p:txBody>
      </p:sp>
      <p:sp>
        <p:nvSpPr>
          <p:cNvPr id="18" name="Plassholder for innhold 2"/>
          <p:cNvSpPr txBox="1">
            <a:spLocks/>
          </p:cNvSpPr>
          <p:nvPr/>
        </p:nvSpPr>
        <p:spPr>
          <a:xfrm>
            <a:off x="6377459" y="1221115"/>
            <a:ext cx="5362259" cy="76493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a:t>Det er 4 733 boliger i kommunen (bebodde og ubebodde).</a:t>
            </a:r>
          </a:p>
        </p:txBody>
      </p:sp>
      <p:sp>
        <p:nvSpPr>
          <p:cNvPr id="5" name="TekstSylinder 4">
            <a:extLst>
              <a:ext uri="{FF2B5EF4-FFF2-40B4-BE49-F238E27FC236}">
                <a16:creationId xmlns:a16="http://schemas.microsoft.com/office/drawing/2014/main" id="{72C38B41-131A-AFC1-9683-784948204578}"/>
              </a:ext>
            </a:extLst>
          </p:cNvPr>
          <p:cNvSpPr txBox="1"/>
          <p:nvPr/>
        </p:nvSpPr>
        <p:spPr>
          <a:xfrm>
            <a:off x="9572410" y="6270703"/>
            <a:ext cx="2423432" cy="369332"/>
          </a:xfrm>
          <a:prstGeom prst="rect">
            <a:avLst/>
          </a:prstGeom>
          <a:noFill/>
        </p:spPr>
        <p:txBody>
          <a:bodyPr wrap="square" rtlCol="0">
            <a:spAutoFit/>
          </a:bodyPr>
          <a:lstStyle/>
          <a:p>
            <a:pPr algn="l"/>
            <a:r>
              <a:rPr lang="nb-NO">
                <a:hlinkClick r:id="rId3"/>
              </a:rPr>
              <a:t>Rapport boligstatistikk</a:t>
            </a:r>
            <a:endParaRPr lang="nb-NO"/>
          </a:p>
        </p:txBody>
      </p:sp>
      <p:graphicFrame>
        <p:nvGraphicFramePr>
          <p:cNvPr id="3" name="Diagram 2" descr="Stolpediagram som viser igangsatte boliger. Benyttet SSB tabell 05940.">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915946444"/>
              </p:ext>
            </p:extLst>
          </p:nvPr>
        </p:nvGraphicFramePr>
        <p:xfrm>
          <a:off x="707280" y="2492420"/>
          <a:ext cx="5100743" cy="324971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Diagram 3" descr="Boligmassen per 2024 (andel i prosent) - SSB 12941. Stolpediagram. Sammenligner kommune og Agder.">
            <a:extLst>
              <a:ext uri="{FF2B5EF4-FFF2-40B4-BE49-F238E27FC236}">
                <a16:creationId xmlns:a16="http://schemas.microsoft.com/office/drawing/2014/main" id="{00000000-0008-0000-0300-000003000000}"/>
              </a:ext>
            </a:extLst>
          </p:cNvPr>
          <p:cNvGraphicFramePr>
            <a:graphicFrameLocks/>
          </p:cNvGraphicFramePr>
          <p:nvPr>
            <p:extLst>
              <p:ext uri="{D42A27DB-BD31-4B8C-83A1-F6EECF244321}">
                <p14:modId xmlns:p14="http://schemas.microsoft.com/office/powerpoint/2010/main" val="270201206"/>
              </p:ext>
            </p:extLst>
          </p:nvPr>
        </p:nvGraphicFramePr>
        <p:xfrm>
          <a:off x="6383979" y="2492419"/>
          <a:ext cx="5808021" cy="324971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38880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50" y="1679211"/>
            <a:ext cx="7109662" cy="1021481"/>
          </a:xfrm>
        </p:spPr>
        <p:txBody>
          <a:bodyPr/>
          <a:lstStyle/>
          <a:p>
            <a:r>
              <a:rPr lang="nb-NO"/>
              <a:t>Næringsutvikling og samarbeid om nye arbeidsplasser</a:t>
            </a:r>
          </a:p>
        </p:txBody>
      </p:sp>
      <p:sp>
        <p:nvSpPr>
          <p:cNvPr id="3" name="Undertittel 2"/>
          <p:cNvSpPr>
            <a:spLocks noGrp="1"/>
          </p:cNvSpPr>
          <p:nvPr>
            <p:ph type="subTitle" idx="1"/>
          </p:nvPr>
        </p:nvSpPr>
        <p:spPr>
          <a:xfrm>
            <a:off x="1193800" y="2866319"/>
            <a:ext cx="10171112" cy="1541688"/>
          </a:xfrm>
        </p:spPr>
        <p:txBody>
          <a:bodyPr/>
          <a:lstStyle/>
          <a:p>
            <a:r>
              <a:rPr lang="nb-NO" i="1"/>
              <a:t>I Regionplan Agder 2030 tegnes et fremtidsbilde der Agder i 2030 lykkes med å bruke det grønne skiftet til innovasjon og verdiskaping i privat og offentlig sektor. Utvikling og bruk av ny teknologi har bidratt til å løse store miljø- og klimautfordringer. Agder har utnyttet mulighetene innen digitalisering, automatisering og kunstig intelligens. Sirkulær økonomi, der ressurser og produkter gjenbrukes er et hovedprinsipp for næringsutvikling og veks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8448" y="5438966"/>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7475" y="5438966"/>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6502" y="5438966"/>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82793" y="5438966"/>
            <a:ext cx="1130400" cy="1130400"/>
          </a:xfrm>
          <a:prstGeom prst="rect">
            <a:avLst/>
          </a:prstGeom>
        </p:spPr>
      </p:pic>
    </p:spTree>
    <p:extLst>
      <p:ext uri="{BB962C8B-B14F-4D97-AF65-F5344CB8AC3E}">
        <p14:creationId xmlns:p14="http://schemas.microsoft.com/office/powerpoint/2010/main" val="244153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73578" y="265174"/>
            <a:ext cx="10153651" cy="685606"/>
          </a:xfrm>
        </p:spPr>
        <p:txBody>
          <a:bodyPr/>
          <a:lstStyle/>
          <a:p>
            <a:r>
              <a:rPr lang="nb-NO"/>
              <a:t>Sysselsetting</a:t>
            </a:r>
          </a:p>
        </p:txBody>
      </p:sp>
      <p:sp>
        <p:nvSpPr>
          <p:cNvPr id="5" name="Plassholder for innhold 3"/>
          <p:cNvSpPr>
            <a:spLocks noGrp="1"/>
          </p:cNvSpPr>
          <p:nvPr>
            <p:ph sz="half" idx="1"/>
          </p:nvPr>
        </p:nvSpPr>
        <p:spPr>
          <a:xfrm>
            <a:off x="573578" y="1079110"/>
            <a:ext cx="5277911" cy="2583627"/>
          </a:xfrm>
        </p:spPr>
        <p:txBody>
          <a:bodyPr/>
          <a:lstStyle/>
          <a:p>
            <a:pPr marL="0" indent="0">
              <a:buNone/>
            </a:pPr>
            <a:r>
              <a:rPr lang="nb-NO" sz="2000" i="1"/>
              <a:t>Regionale forskjeller:</a:t>
            </a:r>
          </a:p>
          <a:p>
            <a:r>
              <a:rPr lang="nb-NO" sz="2000"/>
              <a:t>Lavest sysselsettingsandel helt øst i Agder, og høyest  andel i de aller minst sentrale kommunene.</a:t>
            </a:r>
          </a:p>
          <a:p>
            <a:pPr marL="0" indent="0">
              <a:buNone/>
            </a:pPr>
            <a:r>
              <a:rPr lang="nb-NO" sz="2000" i="1"/>
              <a:t>Flekkefjord:</a:t>
            </a:r>
          </a:p>
          <a:p>
            <a:r>
              <a:rPr lang="nb-NO" sz="2000"/>
              <a:t>Høyere sysselsettingsandel enn gjennomsnittet for fylket. </a:t>
            </a:r>
          </a:p>
        </p:txBody>
      </p:sp>
      <p:graphicFrame>
        <p:nvGraphicFramePr>
          <p:cNvPr id="6" name="Tabell 5"/>
          <p:cNvGraphicFramePr>
            <a:graphicFrameLocks noGrp="1"/>
          </p:cNvGraphicFramePr>
          <p:nvPr>
            <p:extLst>
              <p:ext uri="{D42A27DB-BD31-4B8C-83A1-F6EECF244321}">
                <p14:modId xmlns:p14="http://schemas.microsoft.com/office/powerpoint/2010/main" val="125982617"/>
              </p:ext>
            </p:extLst>
          </p:nvPr>
        </p:nvGraphicFramePr>
        <p:xfrm>
          <a:off x="573578" y="3765701"/>
          <a:ext cx="4929736" cy="1493520"/>
        </p:xfrm>
        <a:graphic>
          <a:graphicData uri="http://schemas.openxmlformats.org/drawingml/2006/table">
            <a:tbl>
              <a:tblPr firstRow="1" bandRow="1">
                <a:tableStyleId>{7DF18680-E054-41AD-8BC1-D1AEF772440D}</a:tableStyleId>
              </a:tblPr>
              <a:tblGrid>
                <a:gridCol w="1232434">
                  <a:extLst>
                    <a:ext uri="{9D8B030D-6E8A-4147-A177-3AD203B41FA5}">
                      <a16:colId xmlns:a16="http://schemas.microsoft.com/office/drawing/2014/main" val="458187021"/>
                    </a:ext>
                  </a:extLst>
                </a:gridCol>
                <a:gridCol w="1232434">
                  <a:extLst>
                    <a:ext uri="{9D8B030D-6E8A-4147-A177-3AD203B41FA5}">
                      <a16:colId xmlns:a16="http://schemas.microsoft.com/office/drawing/2014/main" val="221583423"/>
                    </a:ext>
                  </a:extLst>
                </a:gridCol>
                <a:gridCol w="1232434">
                  <a:extLst>
                    <a:ext uri="{9D8B030D-6E8A-4147-A177-3AD203B41FA5}">
                      <a16:colId xmlns:a16="http://schemas.microsoft.com/office/drawing/2014/main" val="1883679846"/>
                    </a:ext>
                  </a:extLst>
                </a:gridCol>
                <a:gridCol w="1232434">
                  <a:extLst>
                    <a:ext uri="{9D8B030D-6E8A-4147-A177-3AD203B41FA5}">
                      <a16:colId xmlns:a16="http://schemas.microsoft.com/office/drawing/2014/main" val="2441713524"/>
                    </a:ext>
                  </a:extLst>
                </a:gridCol>
              </a:tblGrid>
              <a:tr h="458025">
                <a:tc>
                  <a:txBody>
                    <a:bodyPr/>
                    <a:lstStyle/>
                    <a:p>
                      <a:pPr algn="ctr"/>
                      <a:r>
                        <a:rPr lang="nb-NO" sz="1600"/>
                        <a:t>20-66</a:t>
                      </a:r>
                      <a:endParaRPr lang="nb-NO" sz="1600" b="1"/>
                    </a:p>
                  </a:txBody>
                  <a:tcPr anchor="ctr"/>
                </a:tc>
                <a:tc>
                  <a:txBody>
                    <a:bodyPr/>
                    <a:lstStyle/>
                    <a:p>
                      <a:pPr algn="ctr"/>
                      <a:r>
                        <a:rPr lang="nb-NO" sz="1600"/>
                        <a:t>Begge kjønn</a:t>
                      </a:r>
                      <a:endParaRPr lang="nb-NO" sz="1600" b="1"/>
                    </a:p>
                  </a:txBody>
                  <a:tcPr anchor="ctr"/>
                </a:tc>
                <a:tc>
                  <a:txBody>
                    <a:bodyPr/>
                    <a:lstStyle/>
                    <a:p>
                      <a:pPr algn="ctr"/>
                      <a:r>
                        <a:rPr lang="nb-NO" sz="1600"/>
                        <a:t>Menn</a:t>
                      </a:r>
                      <a:endParaRPr lang="nb-NO" sz="1600" b="1"/>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a:t>Kvinner</a:t>
                      </a:r>
                      <a:endParaRPr lang="nb-NO" sz="1600" b="1"/>
                    </a:p>
                  </a:txBody>
                  <a:tcPr anchor="ctr"/>
                </a:tc>
                <a:extLst>
                  <a:ext uri="{0D108BD9-81ED-4DB2-BD59-A6C34878D82A}">
                    <a16:rowId xmlns:a16="http://schemas.microsoft.com/office/drawing/2014/main" val="957641228"/>
                  </a:ext>
                </a:extLst>
              </a:tr>
              <a:tr h="269427">
                <a:tc>
                  <a:txBody>
                    <a:bodyPr/>
                    <a:lstStyle/>
                    <a:p>
                      <a:pPr algn="ctr"/>
                      <a:r>
                        <a:rPr lang="nb-NO" sz="1400"/>
                        <a:t>Flekkefjord</a:t>
                      </a:r>
                      <a:endParaRPr lang="nb-NO" sz="1400" b="1"/>
                    </a:p>
                  </a:txBody>
                  <a:tcPr anchor="ctr"/>
                </a:tc>
                <a:tc>
                  <a:txBody>
                    <a:bodyPr/>
                    <a:lstStyle/>
                    <a:p>
                      <a:pPr algn="ctr"/>
                      <a:r>
                        <a:rPr lang="nb-NO" sz="1400"/>
                        <a:t>74,7</a:t>
                      </a:r>
                      <a:endParaRPr lang="nb-NO" sz="1400" b="1"/>
                    </a:p>
                  </a:txBody>
                  <a:tcPr anchor="ctr"/>
                </a:tc>
                <a:tc>
                  <a:txBody>
                    <a:bodyPr/>
                    <a:lstStyle/>
                    <a:p>
                      <a:pPr algn="ctr"/>
                      <a:r>
                        <a:rPr lang="nb-NO" sz="1400"/>
                        <a:t>77,4</a:t>
                      </a:r>
                      <a:endParaRPr lang="nb-NO" sz="1400" b="1"/>
                    </a:p>
                  </a:txBody>
                  <a:tcPr anchor="ctr"/>
                </a:tc>
                <a:tc>
                  <a:txBody>
                    <a:bodyPr/>
                    <a:lstStyle/>
                    <a:p>
                      <a:pPr algn="ctr"/>
                      <a:r>
                        <a:rPr lang="nb-NO" sz="1400"/>
                        <a:t>71,8</a:t>
                      </a:r>
                      <a:endParaRPr lang="nb-NO" sz="1400" b="1"/>
                    </a:p>
                  </a:txBody>
                  <a:tcPr anchor="ctr"/>
                </a:tc>
                <a:extLst>
                  <a:ext uri="{0D108BD9-81ED-4DB2-BD59-A6C34878D82A}">
                    <a16:rowId xmlns:a16="http://schemas.microsoft.com/office/drawing/2014/main" val="4145178818"/>
                  </a:ext>
                </a:extLst>
              </a:tr>
              <a:tr h="269427">
                <a:tc>
                  <a:txBody>
                    <a:bodyPr/>
                    <a:lstStyle/>
                    <a:p>
                      <a:pPr algn="ctr"/>
                      <a:r>
                        <a:rPr lang="nb-NO" sz="1400"/>
                        <a:t>Agder</a:t>
                      </a:r>
                      <a:endParaRPr lang="nb-NO" sz="1400" b="1"/>
                    </a:p>
                  </a:txBody>
                  <a:tcPr anchor="ctr"/>
                </a:tc>
                <a:tc>
                  <a:txBody>
                    <a:bodyPr/>
                    <a:lstStyle/>
                    <a:p>
                      <a:pPr algn="ctr"/>
                      <a:r>
                        <a:rPr lang="nb-NO" sz="1400"/>
                        <a:t>73,6</a:t>
                      </a:r>
                      <a:endParaRPr lang="nb-NO" sz="1400" b="1"/>
                    </a:p>
                  </a:txBody>
                  <a:tcPr anchor="ctr"/>
                </a:tc>
                <a:tc>
                  <a:txBody>
                    <a:bodyPr/>
                    <a:lstStyle/>
                    <a:p>
                      <a:pPr algn="ctr"/>
                      <a:r>
                        <a:rPr lang="nb-NO" sz="1400"/>
                        <a:t>76,6</a:t>
                      </a:r>
                      <a:endParaRPr lang="nb-NO" sz="1400" b="1"/>
                    </a:p>
                  </a:txBody>
                  <a:tcPr anchor="ctr"/>
                </a:tc>
                <a:tc>
                  <a:txBody>
                    <a:bodyPr/>
                    <a:lstStyle/>
                    <a:p>
                      <a:pPr algn="ctr"/>
                      <a:r>
                        <a:rPr lang="nb-NO" sz="1400"/>
                        <a:t>70,6</a:t>
                      </a:r>
                      <a:endParaRPr lang="nb-NO" sz="1400" b="1"/>
                    </a:p>
                  </a:txBody>
                  <a:tcPr anchor="ctr"/>
                </a:tc>
                <a:extLst>
                  <a:ext uri="{0D108BD9-81ED-4DB2-BD59-A6C34878D82A}">
                    <a16:rowId xmlns:a16="http://schemas.microsoft.com/office/drawing/2014/main" val="2028139095"/>
                  </a:ext>
                </a:extLst>
              </a:tr>
              <a:tr h="269427">
                <a:tc>
                  <a:txBody>
                    <a:bodyPr/>
                    <a:lstStyle/>
                    <a:p>
                      <a:pPr algn="ctr"/>
                      <a:r>
                        <a:rPr lang="nb-NO" sz="1400"/>
                        <a:t>Norge</a:t>
                      </a:r>
                      <a:endParaRPr lang="nb-NO" sz="1400" b="1"/>
                    </a:p>
                  </a:txBody>
                  <a:tcPr anchor="ctr"/>
                </a:tc>
                <a:tc>
                  <a:txBody>
                    <a:bodyPr/>
                    <a:lstStyle/>
                    <a:p>
                      <a:pPr algn="ctr"/>
                      <a:r>
                        <a:rPr lang="nb-NO" sz="1400"/>
                        <a:t>77,2</a:t>
                      </a:r>
                      <a:endParaRPr lang="nb-NO" sz="1400" b="1"/>
                    </a:p>
                  </a:txBody>
                  <a:tcPr anchor="ctr"/>
                </a:tc>
                <a:tc>
                  <a:txBody>
                    <a:bodyPr/>
                    <a:lstStyle/>
                    <a:p>
                      <a:pPr algn="ctr"/>
                      <a:r>
                        <a:rPr lang="nb-NO" sz="1400"/>
                        <a:t>79,5</a:t>
                      </a:r>
                      <a:endParaRPr lang="nb-NO" sz="1400" b="1"/>
                    </a:p>
                  </a:txBody>
                  <a:tcPr anchor="ctr"/>
                </a:tc>
                <a:tc>
                  <a:txBody>
                    <a:bodyPr/>
                    <a:lstStyle/>
                    <a:p>
                      <a:pPr algn="ctr"/>
                      <a:r>
                        <a:rPr lang="nb-NO" sz="1400"/>
                        <a:t>74,8</a:t>
                      </a:r>
                      <a:endParaRPr lang="nb-NO" sz="1400" b="1"/>
                    </a:p>
                  </a:txBody>
                  <a:tcPr anchor="ctr"/>
                </a:tc>
                <a:extLst>
                  <a:ext uri="{0D108BD9-81ED-4DB2-BD59-A6C34878D82A}">
                    <a16:rowId xmlns:a16="http://schemas.microsoft.com/office/drawing/2014/main" val="768833302"/>
                  </a:ext>
                </a:extLst>
              </a:tr>
            </a:tbl>
          </a:graphicData>
        </a:graphic>
      </p:graphicFrame>
      <p:sp>
        <p:nvSpPr>
          <p:cNvPr id="8" name="TekstSylinder 7">
            <a:extLst>
              <a:ext uri="{FF2B5EF4-FFF2-40B4-BE49-F238E27FC236}">
                <a16:creationId xmlns:a16="http://schemas.microsoft.com/office/drawing/2014/main" id="{2657CD77-47C6-5BFC-5EDA-CF9073283A46}"/>
              </a:ext>
            </a:extLst>
          </p:cNvPr>
          <p:cNvSpPr txBox="1"/>
          <p:nvPr/>
        </p:nvSpPr>
        <p:spPr>
          <a:xfrm>
            <a:off x="498465" y="5473170"/>
            <a:ext cx="2423432" cy="369332"/>
          </a:xfrm>
          <a:prstGeom prst="rect">
            <a:avLst/>
          </a:prstGeom>
          <a:noFill/>
        </p:spPr>
        <p:txBody>
          <a:bodyPr wrap="square" rtlCol="0">
            <a:spAutoFit/>
          </a:bodyPr>
          <a:lstStyle/>
          <a:p>
            <a:pPr algn="l"/>
            <a:r>
              <a:rPr lang="nb-NO">
                <a:hlinkClick r:id="rId3"/>
              </a:rPr>
              <a:t>Rapport sysselsetting</a:t>
            </a:r>
            <a:endParaRPr lang="nb-NO"/>
          </a:p>
        </p:txBody>
      </p:sp>
      <p:pic>
        <p:nvPicPr>
          <p:cNvPr id="3" name="Bilde 2" descr="Et bilde som inneholder tekst, tall og kart. Kartet viser sysselsettingsandel i 2023 for alle Agder kommunene. Aldersgruppe 20-66 år.">
            <a:extLst>
              <a:ext uri="{FF2B5EF4-FFF2-40B4-BE49-F238E27FC236}">
                <a16:creationId xmlns:a16="http://schemas.microsoft.com/office/drawing/2014/main" id="{349EAD55-3964-EECF-3CA3-5584868A594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45897" y="160559"/>
            <a:ext cx="5543204" cy="5820130"/>
          </a:xfrm>
          <a:prstGeom prst="rect">
            <a:avLst/>
          </a:prstGeom>
        </p:spPr>
      </p:pic>
    </p:spTree>
    <p:extLst>
      <p:ext uri="{BB962C8B-B14F-4D97-AF65-F5344CB8AC3E}">
        <p14:creationId xmlns:p14="http://schemas.microsoft.com/office/powerpoint/2010/main" val="134869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Bo- og arbeidsmarkedsregioner i Agde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581670" y="2295"/>
            <a:ext cx="5594730" cy="6047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 name="Bilde 41" descr="Et bilde som viser de viktigste pendlingsrelasjonene for kommunen.">
            <a:extLst>
              <a:ext uri="{FF2B5EF4-FFF2-40B4-BE49-F238E27FC236}">
                <a16:creationId xmlns:a16="http://schemas.microsoft.com/office/drawing/2014/main" id="{EAC818AA-139F-1D5B-A1C0-1C6F00CEC76E}"/>
              </a:ext>
            </a:extLst>
          </p:cNvPr>
          <p:cNvPicPr>
            <a:picLocks noChangeAspect="1"/>
          </p:cNvPicPr>
          <p:nvPr/>
        </p:nvPicPr>
        <p:blipFill>
          <a:blip r:embed="rId4"/>
          <a:stretch>
            <a:fillRect/>
          </a:stretch>
        </p:blipFill>
        <p:spPr>
          <a:xfrm>
            <a:off x="170240" y="2918490"/>
            <a:ext cx="4799295" cy="3139964"/>
          </a:xfrm>
          <a:prstGeom prst="rect">
            <a:avLst/>
          </a:prstGeom>
        </p:spPr>
      </p:pic>
      <p:sp>
        <p:nvSpPr>
          <p:cNvPr id="2" name="Tittel 1"/>
          <p:cNvSpPr>
            <a:spLocks noGrp="1"/>
          </p:cNvSpPr>
          <p:nvPr>
            <p:ph type="title"/>
          </p:nvPr>
        </p:nvSpPr>
        <p:spPr>
          <a:xfrm>
            <a:off x="450574" y="443797"/>
            <a:ext cx="5218706" cy="557044"/>
          </a:xfrm>
        </p:spPr>
        <p:txBody>
          <a:bodyPr/>
          <a:lstStyle/>
          <a:p>
            <a:pPr algn="ctr"/>
            <a:r>
              <a:rPr lang="nb-NO">
                <a:solidFill>
                  <a:schemeClr val="bg2">
                    <a:lumMod val="10000"/>
                  </a:schemeClr>
                </a:solidFill>
              </a:rPr>
              <a:t>Bo- og arbeidsmarkeder</a:t>
            </a:r>
          </a:p>
        </p:txBody>
      </p:sp>
      <p:sp>
        <p:nvSpPr>
          <p:cNvPr id="3" name="Plassholder for innhold 2"/>
          <p:cNvSpPr>
            <a:spLocks noGrp="1"/>
          </p:cNvSpPr>
          <p:nvPr>
            <p:ph idx="1"/>
          </p:nvPr>
        </p:nvSpPr>
        <p:spPr>
          <a:xfrm>
            <a:off x="527347" y="1189554"/>
            <a:ext cx="6566670" cy="1619154"/>
          </a:xfrm>
        </p:spPr>
        <p:txBody>
          <a:bodyPr>
            <a:noAutofit/>
          </a:bodyPr>
          <a:lstStyle/>
          <a:p>
            <a:r>
              <a:rPr lang="nb-NO" sz="2000"/>
              <a:t>72 % av de sysselsatte med bosted i Flekkefjord jobber i hjemkommunen. 11 % jobber i Rogaland, og 6 % jobber i Kvinesdal. Hele 16 % av de sysselsatte med bosted i Kvinesdal jobber i Flekkefjord, og Flekkefjord defineres derfor som senterkommune for Kvinesdal. </a:t>
            </a:r>
          </a:p>
          <a:p>
            <a:endParaRPr lang="nb-NO" sz="2000" i="1"/>
          </a:p>
        </p:txBody>
      </p:sp>
      <p:sp>
        <p:nvSpPr>
          <p:cNvPr id="29" name="TekstSylinder 28"/>
          <p:cNvSpPr txBox="1"/>
          <p:nvPr/>
        </p:nvSpPr>
        <p:spPr>
          <a:xfrm>
            <a:off x="4133471" y="4369258"/>
            <a:ext cx="1793966" cy="646331"/>
          </a:xfrm>
          <a:prstGeom prst="rect">
            <a:avLst/>
          </a:prstGeom>
          <a:noFill/>
        </p:spPr>
        <p:txBody>
          <a:bodyPr wrap="square" rtlCol="0">
            <a:spAutoFit/>
          </a:bodyPr>
          <a:lstStyle/>
          <a:p>
            <a:pPr algn="l"/>
            <a:r>
              <a:rPr lang="nb-NO" sz="1200"/>
              <a:t>Kommunens viktigste pendlingsrelasjoner per 4. </a:t>
            </a:r>
            <a:r>
              <a:rPr lang="nb-NO" sz="1200" err="1"/>
              <a:t>kv</a:t>
            </a:r>
            <a:r>
              <a:rPr lang="nb-NO" sz="1200"/>
              <a:t> 2023 (SSB)</a:t>
            </a:r>
          </a:p>
        </p:txBody>
      </p:sp>
      <p:sp>
        <p:nvSpPr>
          <p:cNvPr id="4" name="TekstSylinder 3"/>
          <p:cNvSpPr txBox="1"/>
          <p:nvPr/>
        </p:nvSpPr>
        <p:spPr>
          <a:xfrm>
            <a:off x="10056997" y="307849"/>
            <a:ext cx="1725407"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1" u="none" strike="noStrike" kern="1200" cap="none" spc="0" normalizeH="0" baseline="0" noProof="0">
                <a:ln>
                  <a:noFill/>
                </a:ln>
                <a:solidFill>
                  <a:srgbClr val="ECEAE6">
                    <a:lumMod val="10000"/>
                  </a:srgbClr>
                </a:solidFill>
                <a:effectLst/>
                <a:uLnTx/>
                <a:uFillTx/>
                <a:latin typeface="Arial" panose="020B0604020202020204"/>
                <a:ea typeface="+mn-ea"/>
                <a:cs typeface="+mn-cs"/>
              </a:rPr>
              <a:t>Definisjon:</a:t>
            </a:r>
            <a:br>
              <a:rPr kumimoji="0" lang="nb-NO" sz="1200" b="0" i="1" u="none" strike="noStrike" kern="1200" cap="none" spc="0" normalizeH="0" baseline="0" noProof="0">
                <a:ln>
                  <a:noFill/>
                </a:ln>
                <a:solidFill>
                  <a:srgbClr val="ECEAE6">
                    <a:lumMod val="10000"/>
                  </a:srgbClr>
                </a:solidFill>
                <a:effectLst/>
                <a:uLnTx/>
                <a:uFillTx/>
                <a:latin typeface="Arial" panose="020B0604020202020204"/>
                <a:ea typeface="+mn-ea"/>
                <a:cs typeface="+mn-cs"/>
              </a:rPr>
            </a:br>
            <a:r>
              <a:rPr kumimoji="0" lang="nb-NO" sz="1200" b="0" i="1" u="none" strike="noStrike" kern="1200" cap="none" spc="0" normalizeH="0" baseline="0" noProof="0">
                <a:ln>
                  <a:noFill/>
                </a:ln>
                <a:solidFill>
                  <a:srgbClr val="ECEAE6">
                    <a:lumMod val="10000"/>
                  </a:srgbClr>
                </a:solidFill>
                <a:effectLst/>
                <a:uLnTx/>
                <a:uFillTx/>
                <a:latin typeface="Arial" panose="020B0604020202020204"/>
                <a:ea typeface="+mn-ea"/>
                <a:cs typeface="+mn-cs"/>
              </a:rPr>
              <a:t>En region med felles markeder for arbeidskraft og arbeidsplasser, der innbyggerne ikke trenger å flytte eller bruke vesentlig tid på å reise for å arbe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31" name="Gruppe 30">
            <a:extLst>
              <a:ext uri="{C183D7F6-B498-43B3-948B-1728B52AA6E4}">
                <adec:decorative xmlns:adec="http://schemas.microsoft.com/office/drawing/2017/decorative" val="1"/>
              </a:ext>
            </a:extLst>
          </p:cNvPr>
          <p:cNvGrpSpPr/>
          <p:nvPr/>
        </p:nvGrpSpPr>
        <p:grpSpPr>
          <a:xfrm>
            <a:off x="7131151" y="863044"/>
            <a:ext cx="4259072" cy="4879626"/>
            <a:chOff x="6436923" y="1263224"/>
            <a:chExt cx="5163787" cy="5304513"/>
          </a:xfrm>
        </p:grpSpPr>
        <p:sp>
          <p:nvSpPr>
            <p:cNvPr id="7" name="Høyrepil med hakk 6"/>
            <p:cNvSpPr/>
            <p:nvPr/>
          </p:nvSpPr>
          <p:spPr>
            <a:xfrm rot="4038743">
              <a:off x="10112957" y="4231375"/>
              <a:ext cx="933116" cy="1510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Høyrepil med hakk 7"/>
            <p:cNvSpPr/>
            <p:nvPr/>
          </p:nvSpPr>
          <p:spPr>
            <a:xfrm rot="7101135">
              <a:off x="10475041" y="4019452"/>
              <a:ext cx="1384866" cy="167254"/>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Høyrepil med hakk 8"/>
            <p:cNvSpPr/>
            <p:nvPr/>
          </p:nvSpPr>
          <p:spPr>
            <a:xfrm rot="4528569">
              <a:off x="8347635" y="5067284"/>
              <a:ext cx="1385968" cy="228413"/>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Høyrepil med hakk 9"/>
            <p:cNvSpPr/>
            <p:nvPr/>
          </p:nvSpPr>
          <p:spPr>
            <a:xfrm rot="7090215">
              <a:off x="9144669" y="5367894"/>
              <a:ext cx="787964" cy="193639"/>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Høyrepil med hakk 10"/>
            <p:cNvSpPr/>
            <p:nvPr/>
          </p:nvSpPr>
          <p:spPr>
            <a:xfrm rot="9347881">
              <a:off x="9366477" y="5700049"/>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Venstrebuet pil 11"/>
            <p:cNvSpPr/>
            <p:nvPr/>
          </p:nvSpPr>
          <p:spPr>
            <a:xfrm rot="3401155">
              <a:off x="9761202" y="5250782"/>
              <a:ext cx="373777" cy="1306023"/>
            </a:xfrm>
            <a:prstGeom prst="curvedLef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ppoverbuet pil 12"/>
            <p:cNvSpPr/>
            <p:nvPr/>
          </p:nvSpPr>
          <p:spPr>
            <a:xfrm rot="20682173">
              <a:off x="8288360" y="6203943"/>
              <a:ext cx="1107766" cy="363794"/>
            </a:xfrm>
            <a:prstGeom prst="curvedUp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 name="Høyrepil med hakk 13"/>
            <p:cNvSpPr/>
            <p:nvPr/>
          </p:nvSpPr>
          <p:spPr>
            <a:xfrm rot="19529789">
              <a:off x="8666370" y="6050153"/>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Høyrepil med hakk 14"/>
            <p:cNvSpPr/>
            <p:nvPr/>
          </p:nvSpPr>
          <p:spPr>
            <a:xfrm rot="1069916">
              <a:off x="8414705" y="5688455"/>
              <a:ext cx="539269"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Høyrepil med hakk 15"/>
            <p:cNvSpPr/>
            <p:nvPr/>
          </p:nvSpPr>
          <p:spPr>
            <a:xfrm rot="2676594">
              <a:off x="10214903" y="4595499"/>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 name="Høyrepil med hakk 16"/>
            <p:cNvSpPr/>
            <p:nvPr/>
          </p:nvSpPr>
          <p:spPr>
            <a:xfrm rot="8077020">
              <a:off x="10754099" y="4554580"/>
              <a:ext cx="621599" cy="194032"/>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Høyrepil med hakk 17"/>
            <p:cNvSpPr/>
            <p:nvPr/>
          </p:nvSpPr>
          <p:spPr>
            <a:xfrm rot="18982719">
              <a:off x="10272281" y="5055565"/>
              <a:ext cx="467308" cy="186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Høyrepil med hakk 18"/>
            <p:cNvSpPr/>
            <p:nvPr/>
          </p:nvSpPr>
          <p:spPr>
            <a:xfrm rot="5637423">
              <a:off x="8666369" y="3840697"/>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Høyrepil med hakk 19"/>
            <p:cNvSpPr/>
            <p:nvPr/>
          </p:nvSpPr>
          <p:spPr>
            <a:xfrm rot="6702586">
              <a:off x="7094616" y="5257526"/>
              <a:ext cx="896162" cy="20941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Høyrepil med hakk 20"/>
            <p:cNvSpPr/>
            <p:nvPr/>
          </p:nvSpPr>
          <p:spPr>
            <a:xfrm rot="20645713">
              <a:off x="6553360" y="5765001"/>
              <a:ext cx="735767" cy="185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Høyrepil med hakk 21"/>
            <p:cNvSpPr/>
            <p:nvPr/>
          </p:nvSpPr>
          <p:spPr>
            <a:xfrm rot="14633931">
              <a:off x="8750739" y="4581899"/>
              <a:ext cx="645303" cy="14397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Høyrepil med hakk 22"/>
            <p:cNvSpPr/>
            <p:nvPr/>
          </p:nvSpPr>
          <p:spPr>
            <a:xfrm rot="1866321">
              <a:off x="7890688" y="5397009"/>
              <a:ext cx="1330249" cy="15622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Høyrepil med hakk 23"/>
            <p:cNvSpPr/>
            <p:nvPr/>
          </p:nvSpPr>
          <p:spPr>
            <a:xfrm rot="12873778">
              <a:off x="7327773" y="5925601"/>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Høyrepil med hakk 24"/>
            <p:cNvSpPr/>
            <p:nvPr/>
          </p:nvSpPr>
          <p:spPr>
            <a:xfrm rot="8119506">
              <a:off x="6436923" y="4804474"/>
              <a:ext cx="896162" cy="1264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Høyrepil med hakk 25"/>
            <p:cNvSpPr/>
            <p:nvPr/>
          </p:nvSpPr>
          <p:spPr>
            <a:xfrm rot="21212387">
              <a:off x="8043682" y="4341939"/>
              <a:ext cx="789364" cy="8121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Pil opp og ned 26"/>
            <p:cNvSpPr/>
            <p:nvPr/>
          </p:nvSpPr>
          <p:spPr>
            <a:xfrm rot="20226368">
              <a:off x="8244829" y="1263224"/>
              <a:ext cx="143302" cy="584756"/>
            </a:xfrm>
            <a:prstGeom prst="upDown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Høyrepil med hakk 29"/>
            <p:cNvSpPr/>
            <p:nvPr/>
          </p:nvSpPr>
          <p:spPr>
            <a:xfrm rot="3477990">
              <a:off x="11241414" y="3604434"/>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32" name="TekstSylinder 31"/>
          <p:cNvSpPr txBox="1"/>
          <p:nvPr/>
        </p:nvSpPr>
        <p:spPr>
          <a:xfrm>
            <a:off x="9474298" y="5705017"/>
            <a:ext cx="124313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1 Kristiansand</a:t>
            </a:r>
          </a:p>
        </p:txBody>
      </p:sp>
      <p:sp>
        <p:nvSpPr>
          <p:cNvPr id="5" name="TekstSylinder 4"/>
          <p:cNvSpPr txBox="1"/>
          <p:nvPr/>
        </p:nvSpPr>
        <p:spPr>
          <a:xfrm>
            <a:off x="8369862" y="3000777"/>
            <a:ext cx="1451156"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4 Evje og Hornnes</a:t>
            </a:r>
          </a:p>
        </p:txBody>
      </p:sp>
      <p:sp>
        <p:nvSpPr>
          <p:cNvPr id="33" name="TekstSylinder 32"/>
          <p:cNvSpPr txBox="1"/>
          <p:nvPr/>
        </p:nvSpPr>
        <p:spPr>
          <a:xfrm>
            <a:off x="6817093" y="3856817"/>
            <a:ext cx="1252619"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2 Flekkefjord</a:t>
            </a:r>
          </a:p>
        </p:txBody>
      </p:sp>
      <p:sp>
        <p:nvSpPr>
          <p:cNvPr id="34" name="TekstSylinder 33"/>
          <p:cNvSpPr txBox="1"/>
          <p:nvPr/>
        </p:nvSpPr>
        <p:spPr>
          <a:xfrm>
            <a:off x="7719240" y="4529565"/>
            <a:ext cx="973773"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6 Lyngdal</a:t>
            </a:r>
          </a:p>
        </p:txBody>
      </p:sp>
      <p:sp>
        <p:nvSpPr>
          <p:cNvPr id="35" name="TekstSylinder 34"/>
          <p:cNvSpPr txBox="1"/>
          <p:nvPr/>
        </p:nvSpPr>
        <p:spPr>
          <a:xfrm>
            <a:off x="10683294" y="4608979"/>
            <a:ext cx="102028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0 Arendal</a:t>
            </a:r>
          </a:p>
        </p:txBody>
      </p:sp>
      <p:sp>
        <p:nvSpPr>
          <p:cNvPr id="36" name="TekstSylinder 35"/>
          <p:cNvSpPr txBox="1"/>
          <p:nvPr/>
        </p:nvSpPr>
        <p:spPr>
          <a:xfrm>
            <a:off x="11290172" y="2605775"/>
            <a:ext cx="799364"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39 Risør</a:t>
            </a:r>
          </a:p>
        </p:txBody>
      </p:sp>
      <p:sp>
        <p:nvSpPr>
          <p:cNvPr id="37" name="TekstSylinder 36"/>
          <p:cNvSpPr txBox="1"/>
          <p:nvPr/>
        </p:nvSpPr>
        <p:spPr>
          <a:xfrm>
            <a:off x="9960518" y="2918490"/>
            <a:ext cx="772890"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3 Åmli</a:t>
            </a:r>
          </a:p>
        </p:txBody>
      </p:sp>
      <p:sp>
        <p:nvSpPr>
          <p:cNvPr id="38" name="TekstSylinder 37"/>
          <p:cNvSpPr txBox="1"/>
          <p:nvPr/>
        </p:nvSpPr>
        <p:spPr>
          <a:xfrm>
            <a:off x="8797036" y="1132205"/>
            <a:ext cx="1023982"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5 Bykle</a:t>
            </a:r>
          </a:p>
        </p:txBody>
      </p:sp>
      <p:sp>
        <p:nvSpPr>
          <p:cNvPr id="39" name="TekstSylinder 38"/>
          <p:cNvSpPr txBox="1"/>
          <p:nvPr/>
        </p:nvSpPr>
        <p:spPr>
          <a:xfrm>
            <a:off x="7094016" y="2665442"/>
            <a:ext cx="90582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7 Sirdal</a:t>
            </a:r>
          </a:p>
        </p:txBody>
      </p:sp>
      <p:sp>
        <p:nvSpPr>
          <p:cNvPr id="28" name="TekstSylinder 27"/>
          <p:cNvSpPr txBox="1"/>
          <p:nvPr/>
        </p:nvSpPr>
        <p:spPr>
          <a:xfrm>
            <a:off x="10329863" y="6213098"/>
            <a:ext cx="1630696" cy="276999"/>
          </a:xfrm>
          <a:prstGeom prst="rect">
            <a:avLst/>
          </a:prstGeom>
          <a:noFill/>
        </p:spPr>
        <p:txBody>
          <a:bodyPr wrap="square" rtlCol="0">
            <a:spAutoFit/>
          </a:bodyPr>
          <a:lstStyle/>
          <a:p>
            <a:r>
              <a:rPr lang="nb-NO" sz="1200"/>
              <a:t>Kilde: TØI 1713/2019</a:t>
            </a:r>
          </a:p>
        </p:txBody>
      </p:sp>
      <p:sp>
        <p:nvSpPr>
          <p:cNvPr id="6" name="TekstSylinder 5">
            <a:extLst>
              <a:ext uri="{FF2B5EF4-FFF2-40B4-BE49-F238E27FC236}">
                <a16:creationId xmlns:a16="http://schemas.microsoft.com/office/drawing/2014/main" id="{2B848CFA-6AE5-2E6E-CF21-DC7FB621BE06}"/>
              </a:ext>
            </a:extLst>
          </p:cNvPr>
          <p:cNvSpPr txBox="1"/>
          <p:nvPr/>
        </p:nvSpPr>
        <p:spPr>
          <a:xfrm>
            <a:off x="8281141" y="6135280"/>
            <a:ext cx="2067793" cy="369332"/>
          </a:xfrm>
          <a:prstGeom prst="rect">
            <a:avLst/>
          </a:prstGeom>
          <a:noFill/>
        </p:spPr>
        <p:txBody>
          <a:bodyPr wrap="square" rtlCol="0">
            <a:spAutoFit/>
          </a:bodyPr>
          <a:lstStyle/>
          <a:p>
            <a:pPr algn="l"/>
            <a:r>
              <a:rPr lang="nb-NO">
                <a:hlinkClick r:id="rId5"/>
              </a:rPr>
              <a:t>Rapport pendling</a:t>
            </a:r>
            <a:endParaRPr lang="nb-NO"/>
          </a:p>
        </p:txBody>
      </p:sp>
    </p:spTree>
    <p:extLst>
      <p:ext uri="{BB962C8B-B14F-4D97-AF65-F5344CB8AC3E}">
        <p14:creationId xmlns:p14="http://schemas.microsoft.com/office/powerpoint/2010/main" val="1751997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Sektorfordeling og ansattutvikling</a:t>
            </a:r>
          </a:p>
        </p:txBody>
      </p:sp>
      <p:sp>
        <p:nvSpPr>
          <p:cNvPr id="10" name="TekstSylinder 9"/>
          <p:cNvSpPr txBox="1"/>
          <p:nvPr/>
        </p:nvSpPr>
        <p:spPr>
          <a:xfrm>
            <a:off x="676027" y="4808916"/>
            <a:ext cx="5865341" cy="830997"/>
          </a:xfrm>
          <a:prstGeom prst="rect">
            <a:avLst/>
          </a:prstGeom>
          <a:noFill/>
        </p:spPr>
        <p:txBody>
          <a:bodyPr wrap="square" rtlCol="0">
            <a:spAutoFit/>
          </a:bodyPr>
          <a:lstStyle/>
          <a:p>
            <a:pPr algn="l"/>
            <a:r>
              <a:rPr lang="nb-NO" sz="1600"/>
              <a:t>Flekkefjord har en lavere andel ansatte i privat sektor enn snittet for Agder og Norge. Antall ansatte i privat sektor har økt med ca. 250 personer siden 2018.</a:t>
            </a:r>
          </a:p>
        </p:txBody>
      </p:sp>
      <p:graphicFrame>
        <p:nvGraphicFramePr>
          <p:cNvPr id="8" name="Tabell 7">
            <a:extLst>
              <a:ext uri="{FF2B5EF4-FFF2-40B4-BE49-F238E27FC236}">
                <a16:creationId xmlns:a16="http://schemas.microsoft.com/office/drawing/2014/main" id="{1F04DA60-B7B3-B4E8-515E-A41EE2EA22A3}"/>
              </a:ext>
            </a:extLst>
          </p:cNvPr>
          <p:cNvGraphicFramePr>
            <a:graphicFrameLocks noGrp="1"/>
          </p:cNvGraphicFramePr>
          <p:nvPr>
            <p:extLst>
              <p:ext uri="{D42A27DB-BD31-4B8C-83A1-F6EECF244321}">
                <p14:modId xmlns:p14="http://schemas.microsoft.com/office/powerpoint/2010/main" val="566906118"/>
              </p:ext>
            </p:extLst>
          </p:nvPr>
        </p:nvGraphicFramePr>
        <p:xfrm>
          <a:off x="7404596" y="4671968"/>
          <a:ext cx="4661428" cy="1164405"/>
        </p:xfrm>
        <a:graphic>
          <a:graphicData uri="http://schemas.openxmlformats.org/drawingml/2006/table">
            <a:tbl>
              <a:tblPr firstRow="1"/>
              <a:tblGrid>
                <a:gridCol w="1703190">
                  <a:extLst>
                    <a:ext uri="{9D8B030D-6E8A-4147-A177-3AD203B41FA5}">
                      <a16:colId xmlns:a16="http://schemas.microsoft.com/office/drawing/2014/main" val="2999372120"/>
                    </a:ext>
                  </a:extLst>
                </a:gridCol>
                <a:gridCol w="475131">
                  <a:extLst>
                    <a:ext uri="{9D8B030D-6E8A-4147-A177-3AD203B41FA5}">
                      <a16:colId xmlns:a16="http://schemas.microsoft.com/office/drawing/2014/main" val="2329506778"/>
                    </a:ext>
                  </a:extLst>
                </a:gridCol>
                <a:gridCol w="726107">
                  <a:extLst>
                    <a:ext uri="{9D8B030D-6E8A-4147-A177-3AD203B41FA5}">
                      <a16:colId xmlns:a16="http://schemas.microsoft.com/office/drawing/2014/main" val="3073205391"/>
                    </a:ext>
                  </a:extLst>
                </a:gridCol>
                <a:gridCol w="753001">
                  <a:extLst>
                    <a:ext uri="{9D8B030D-6E8A-4147-A177-3AD203B41FA5}">
                      <a16:colId xmlns:a16="http://schemas.microsoft.com/office/drawing/2014/main" val="2459591227"/>
                    </a:ext>
                  </a:extLst>
                </a:gridCol>
                <a:gridCol w="1003999">
                  <a:extLst>
                    <a:ext uri="{9D8B030D-6E8A-4147-A177-3AD203B41FA5}">
                      <a16:colId xmlns:a16="http://schemas.microsoft.com/office/drawing/2014/main" val="1307978514"/>
                    </a:ext>
                  </a:extLst>
                </a:gridCol>
              </a:tblGrid>
              <a:tr h="142679">
                <a:tc gridSpan="3">
                  <a:txBody>
                    <a:bodyPr/>
                    <a:lstStyle/>
                    <a:p>
                      <a:pPr algn="ctr" fontAlgn="b"/>
                      <a:r>
                        <a:rPr lang="nb-NO" sz="1000" b="1" i="0" u="none" strike="noStrike">
                          <a:solidFill>
                            <a:srgbClr val="FFFFFF"/>
                          </a:solidFill>
                          <a:effectLst/>
                          <a:highlight>
                            <a:srgbClr val="39575B"/>
                          </a:highlight>
                          <a:latin typeface="Arial" panose="020B0604020202020204" pitchFamily="34" charset="0"/>
                        </a:rPr>
                        <a:t>Flekkefjor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hMerge="1">
                  <a:txBody>
                    <a:bodyPr/>
                    <a:lstStyle/>
                    <a:p>
                      <a:endParaRPr lang="nb-NO"/>
                    </a:p>
                  </a:txBody>
                  <a:tcPr/>
                </a:tc>
                <a:tc hMerge="1">
                  <a:txBody>
                    <a:bodyPr/>
                    <a:lstStyle/>
                    <a:p>
                      <a:endParaRPr lang="nb-NO"/>
                    </a:p>
                  </a:txBody>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extLst>
                  <a:ext uri="{0D108BD9-81ED-4DB2-BD59-A6C34878D82A}">
                    <a16:rowId xmlns:a16="http://schemas.microsoft.com/office/drawing/2014/main" val="732135326"/>
                  </a:ext>
                </a:extLst>
              </a:tr>
              <a:tr h="142679">
                <a:tc>
                  <a:txBody>
                    <a:bodyPr/>
                    <a:lstStyle/>
                    <a:p>
                      <a:pPr algn="l" fontAlgn="b"/>
                      <a:r>
                        <a:rPr lang="nb-NO" sz="1000" b="1" i="0" u="none" strike="noStrike">
                          <a:solidFill>
                            <a:srgbClr val="000000"/>
                          </a:solidFill>
                          <a:effectLst/>
                          <a:latin typeface="Arial" panose="020B0604020202020204" pitchFamily="34" charset="0"/>
                        </a:rPr>
                        <a:t>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tal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de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g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nb-NO" sz="1000" b="1" i="0" u="none" strike="noStrike">
                          <a:solidFill>
                            <a:srgbClr val="000000"/>
                          </a:solidFill>
                          <a:effectLst/>
                          <a:latin typeface="Arial" panose="020B0604020202020204" pitchFamily="34" charset="0"/>
                        </a:rPr>
                        <a:t>Norg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47233002"/>
                  </a:ext>
                </a:extLst>
              </a:tr>
              <a:tr h="159918">
                <a:tc>
                  <a:txBody>
                    <a:bodyPr/>
                    <a:lstStyle/>
                    <a:p>
                      <a:pPr algn="l" fontAlgn="b"/>
                      <a:r>
                        <a:rPr lang="nb-NO" sz="1000" b="0" i="0" u="none" strike="noStrike">
                          <a:solidFill>
                            <a:srgbClr val="000000"/>
                          </a:solidFill>
                          <a:effectLst/>
                          <a:latin typeface="Arial" panose="020B0604020202020204" pitchFamily="34" charset="0"/>
                        </a:rPr>
                        <a:t>Offentlige eide foreta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4,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1347627"/>
                  </a:ext>
                </a:extLst>
              </a:tr>
              <a:tr h="192855">
                <a:tc>
                  <a:txBody>
                    <a:bodyPr/>
                    <a:lstStyle/>
                    <a:p>
                      <a:pPr algn="l" fontAlgn="b"/>
                      <a:r>
                        <a:rPr lang="nb-NO" sz="1000" b="0" i="0" u="none" strike="noStrike">
                          <a:solidFill>
                            <a:srgbClr val="000000"/>
                          </a:solidFill>
                          <a:effectLst/>
                          <a:latin typeface="Arial" panose="020B0604020202020204" pitchFamily="34" charset="0"/>
                        </a:rPr>
                        <a:t>Fylkes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80226139"/>
                  </a:ext>
                </a:extLst>
              </a:tr>
              <a:tr h="142679">
                <a:tc>
                  <a:txBody>
                    <a:bodyPr/>
                    <a:lstStyle/>
                    <a:p>
                      <a:pPr algn="l" fontAlgn="b"/>
                      <a:r>
                        <a:rPr lang="nb-NO" sz="1000" b="0" i="0" u="none" strike="noStrike">
                          <a:solidFill>
                            <a:srgbClr val="000000"/>
                          </a:solidFill>
                          <a:effectLst/>
                          <a:latin typeface="Arial" panose="020B0604020202020204" pitchFamily="34" charset="0"/>
                        </a:rPr>
                        <a:t>Statsforvaltning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5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1,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00272261"/>
                  </a:ext>
                </a:extLst>
              </a:tr>
              <a:tr h="159918">
                <a:tc>
                  <a:txBody>
                    <a:bodyPr/>
                    <a:lstStyle/>
                    <a:p>
                      <a:pPr algn="l" fontAlgn="b"/>
                      <a:r>
                        <a:rPr lang="nb-NO" sz="1000" b="0" i="0" u="none" strike="noStrike">
                          <a:solidFill>
                            <a:srgbClr val="000000"/>
                          </a:solidFill>
                          <a:effectLst/>
                          <a:latin typeface="Arial" panose="020B0604020202020204" pitchFamily="34" charset="0"/>
                        </a:rPr>
                        <a:t>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1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6,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2,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749521"/>
                  </a:ext>
                </a:extLst>
              </a:tr>
              <a:tr h="142679">
                <a:tc>
                  <a:txBody>
                    <a:bodyPr/>
                    <a:lstStyle/>
                    <a:p>
                      <a:pPr algn="l" fontAlgn="b"/>
                      <a:r>
                        <a:rPr lang="nb-NO" sz="1000" b="0" i="0" u="none" strike="noStrike">
                          <a:solidFill>
                            <a:srgbClr val="000000"/>
                          </a:solidFill>
                          <a:effectLst/>
                          <a:latin typeface="Arial" panose="020B0604020202020204" pitchFamily="34" charset="0"/>
                        </a:rPr>
                        <a:t>Privat 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4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57,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dirty="0">
                          <a:solidFill>
                            <a:srgbClr val="000000"/>
                          </a:solidFill>
                          <a:effectLst/>
                          <a:latin typeface="Arial" panose="020B0604020202020204" pitchFamily="34" charset="0"/>
                        </a:rPr>
                        <a:t>6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32049362"/>
                  </a:ext>
                </a:extLst>
              </a:tr>
            </a:tbl>
          </a:graphicData>
        </a:graphic>
      </p:graphicFrame>
      <p:graphicFrame>
        <p:nvGraphicFramePr>
          <p:cNvPr id="3" name="Diagram 2" descr="Stolpediagram som viser antall sysselsatte per sektor, 4. kvartal (SSB tabell 13472). Tidsserie.">
            <a:extLst>
              <a:ext uri="{FF2B5EF4-FFF2-40B4-BE49-F238E27FC236}">
                <a16:creationId xmlns:a16="http://schemas.microsoft.com/office/drawing/2014/main" id="{900796C7-9568-AA7D-48B1-D162673FAB3E}"/>
              </a:ext>
            </a:extLst>
          </p:cNvPr>
          <p:cNvGraphicFramePr>
            <a:graphicFrameLocks/>
          </p:cNvGraphicFramePr>
          <p:nvPr>
            <p:extLst>
              <p:ext uri="{D42A27DB-BD31-4B8C-83A1-F6EECF244321}">
                <p14:modId xmlns:p14="http://schemas.microsoft.com/office/powerpoint/2010/main" val="2914444850"/>
              </p:ext>
            </p:extLst>
          </p:nvPr>
        </p:nvGraphicFramePr>
        <p:xfrm>
          <a:off x="551172" y="1550890"/>
          <a:ext cx="6115050" cy="31051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Diagram 4" descr="Kakediagram som viser andel sysselsatte per sektor, 4. kvartal (SSB, tabell 13472).">
            <a:extLst>
              <a:ext uri="{FF2B5EF4-FFF2-40B4-BE49-F238E27FC236}">
                <a16:creationId xmlns:a16="http://schemas.microsoft.com/office/drawing/2014/main" id="{E5C71C2E-AF53-CAD5-0770-CF80592B48C1}"/>
              </a:ext>
            </a:extLst>
          </p:cNvPr>
          <p:cNvGraphicFramePr>
            <a:graphicFrameLocks/>
          </p:cNvGraphicFramePr>
          <p:nvPr>
            <p:extLst>
              <p:ext uri="{D42A27DB-BD31-4B8C-83A1-F6EECF244321}">
                <p14:modId xmlns:p14="http://schemas.microsoft.com/office/powerpoint/2010/main" val="648442119"/>
              </p:ext>
            </p:extLst>
          </p:nvPr>
        </p:nvGraphicFramePr>
        <p:xfrm>
          <a:off x="6890059" y="1550890"/>
          <a:ext cx="5175966" cy="31051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37931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Mal powerpoint_Agder fylkeskommune V1" id="{7A9B48FA-C2C4-4C0B-8B9A-87FA183985C7}" vid="{F34505B9-8C1F-445E-8612-14AC7B5718C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133478D57CB5A4BB798E31C0495E537" ma:contentTypeVersion="16" ma:contentTypeDescription="Create a new document." ma:contentTypeScope="" ma:versionID="282c15bfc62d13f0530c5969480c68ce">
  <xsd:schema xmlns:xsd="http://www.w3.org/2001/XMLSchema" xmlns:xs="http://www.w3.org/2001/XMLSchema" xmlns:p="http://schemas.microsoft.com/office/2006/metadata/properties" xmlns:ns2="dbde4e59-9b61-48a0-a4d9-cce2922754f5" xmlns:ns3="549b603a-3c19-46c1-8987-e792084663ae" targetNamespace="http://schemas.microsoft.com/office/2006/metadata/properties" ma:root="true" ma:fieldsID="88bf7f295763e8028f5c9699218bc082" ns2:_="" ns3:_="">
    <xsd:import namespace="dbde4e59-9b61-48a0-a4d9-cce2922754f5"/>
    <xsd:import namespace="549b603a-3c19-46c1-8987-e792084663a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Location" minOccurs="0"/>
                <xsd:element ref="ns2:MediaServiceSearchPropertie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de4e59-9b61-48a0-a4d9-cce2922754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6af8f8e-1e45-4bcb-8b90-291e597263f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9b603a-3c19-46c1-8987-e792084663ae"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34ea433-eab8-4bd2-a8c8-d5fae60f80a8}" ma:internalName="TaxCatchAll" ma:showField="CatchAllData" ma:web="549b603a-3c19-46c1-8987-e792084663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bde4e59-9b61-48a0-a4d9-cce2922754f5">
      <Terms xmlns="http://schemas.microsoft.com/office/infopath/2007/PartnerControls"/>
    </lcf76f155ced4ddcb4097134ff3c332f>
    <TaxCatchAll xmlns="549b603a-3c19-46c1-8987-e792084663ae" xsi:nil="true"/>
  </documentManagement>
</p:properties>
</file>

<file path=customXml/itemProps1.xml><?xml version="1.0" encoding="utf-8"?>
<ds:datastoreItem xmlns:ds="http://schemas.openxmlformats.org/officeDocument/2006/customXml" ds:itemID="{54B40BF4-1EF9-46F8-9907-2643F37E4D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de4e59-9b61-48a0-a4d9-cce2922754f5"/>
    <ds:schemaRef ds:uri="549b603a-3c19-46c1-8987-e792084663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4111FB6-CDEF-4AF1-BEE6-B359A2ADBB38}">
  <ds:schemaRefs>
    <ds:schemaRef ds:uri="http://schemas.microsoft.com/sharepoint/v3/contenttype/forms"/>
  </ds:schemaRefs>
</ds:datastoreItem>
</file>

<file path=customXml/itemProps3.xml><?xml version="1.0" encoding="utf-8"?>
<ds:datastoreItem xmlns:ds="http://schemas.openxmlformats.org/officeDocument/2006/customXml" ds:itemID="{D2E84CB8-E3BC-4ED1-9892-48BFB2DA6766}">
  <ds:schemaRefs>
    <ds:schemaRef ds:uri="549b603a-3c19-46c1-8987-e792084663ae"/>
    <ds:schemaRef ds:uri="dbde4e59-9b61-48a0-a4d9-cce2922754f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Analyseavdelingen i prosesser</Template>
  <TotalTime>148</TotalTime>
  <Words>2666</Words>
  <Application>Microsoft Office PowerPoint</Application>
  <PresentationFormat>Widescreen</PresentationFormat>
  <Paragraphs>354</Paragraphs>
  <Slides>25</Slides>
  <Notes>21</Notes>
  <HiddenSlides>0</HiddenSlides>
  <MMClips>0</MMClips>
  <ScaleCrop>false</ScaleCrop>
  <HeadingPairs>
    <vt:vector size="6" baseType="variant">
      <vt:variant>
        <vt:lpstr>Brukte skrifter</vt:lpstr>
      </vt:variant>
      <vt:variant>
        <vt:i4>4</vt:i4>
      </vt:variant>
      <vt:variant>
        <vt:lpstr>Tema</vt:lpstr>
      </vt:variant>
      <vt:variant>
        <vt:i4>1</vt:i4>
      </vt:variant>
      <vt:variant>
        <vt:lpstr>Lysbildetitler</vt:lpstr>
      </vt:variant>
      <vt:variant>
        <vt:i4>25</vt:i4>
      </vt:variant>
    </vt:vector>
  </HeadingPairs>
  <TitlesOfParts>
    <vt:vector size="30" baseType="lpstr">
      <vt:lpstr>Arial</vt:lpstr>
      <vt:lpstr>Arial Black</vt:lpstr>
      <vt:lpstr>Calibri</vt:lpstr>
      <vt:lpstr>Wingdings</vt:lpstr>
      <vt:lpstr>Agder fylkeskommune PowerPointmal 16:9</vt:lpstr>
      <vt:lpstr>Flekkefjord</vt:lpstr>
      <vt:lpstr>Kjappe fakta om Flekkefjord kommune</vt:lpstr>
      <vt:lpstr>Befolkning og demografi</vt:lpstr>
      <vt:lpstr>Befolkningsutvikling og distrikt</vt:lpstr>
      <vt:lpstr>Boligbygging  </vt:lpstr>
      <vt:lpstr>Næringsutvikling og samarbeid om nye arbeidsplasser</vt:lpstr>
      <vt:lpstr>Sysselsetting</vt:lpstr>
      <vt:lpstr>Bo- og arbeidsmarkeder</vt:lpstr>
      <vt:lpstr>Sektorfordeling og ansattutvikling</vt:lpstr>
      <vt:lpstr>Næringsstruktur – 4. kvartal 2023</vt:lpstr>
      <vt:lpstr>Levekår, likestilling, inkludering og mangfold</vt:lpstr>
      <vt:lpstr>Grunnskolepoeng</vt:lpstr>
      <vt:lpstr>Gjennomføring videregående opplæring</vt:lpstr>
      <vt:lpstr>Lærekontrakter kommunal og privat sektor</vt:lpstr>
      <vt:lpstr>Deltid kvinner 20-66 år</vt:lpstr>
      <vt:lpstr>Sysselsetting etter landbakgrunn</vt:lpstr>
      <vt:lpstr>Vedvarende lavinntekt</vt:lpstr>
      <vt:lpstr>Tannhelse</vt:lpstr>
      <vt:lpstr>Klima og miljø</vt:lpstr>
      <vt:lpstr>Klimagassutslipp – referansebaner</vt:lpstr>
      <vt:lpstr>Elektrifiseringsgrad per sektor</vt:lpstr>
      <vt:lpstr>Klimagassreduksjon i  </vt:lpstr>
      <vt:lpstr>Arealressurser</vt:lpstr>
      <vt:lpstr>Planlagt arealbruk</vt:lpstr>
      <vt:lpstr>Fritidsbebyggelse og eiere</vt:lpstr>
    </vt:vector>
  </TitlesOfParts>
  <Company>IKT-Ag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Lindaas, Gunnar Ogwyn</dc:creator>
  <cp:lastModifiedBy>Michaelsen, Børje</cp:lastModifiedBy>
  <cp:revision>1</cp:revision>
  <dcterms:created xsi:type="dcterms:W3CDTF">2021-09-13T19:20:02Z</dcterms:created>
  <dcterms:modified xsi:type="dcterms:W3CDTF">2024-11-11T08:26: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33478D57CB5A4BB798E31C0495E537</vt:lpwstr>
  </property>
  <property fmtid="{D5CDD505-2E9C-101B-9397-08002B2CF9AE}" pid="3" name="MediaServiceImageTags">
    <vt:lpwstr/>
  </property>
</Properties>
</file>